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Scraped" id="{D5095D06-60BE-4AC4-A8A8-A1648B7949DA}">
          <p14:sldIdLst>
            <p14:sldId id="2147477365"/>
            <p14:sldId id="2147477366"/>
          </p14:sldIdLst>
        </p14:section>
        <p14:section name="Sector Price Point Distribution Scraped" id="{B8FB71D4-74E0-4CFF-8A43-CF59DA830EE2}">
          <p14:sldIdLst>
            <p14:sldId id="2147477367"/>
            <p14:sldId id="2147477368"/>
            <p14:sldId id="2147477369"/>
          </p14:sldIdLst>
        </p14:section>
        <p14:section name="Category Price Point Distribution Scraped ByManuf" id="{F61AB708-742D-468A-AB36-AB110D472A91}">
          <p14:sldIdLst>
            <p14:sldId id="2147477370"/>
          </p14:sldIdLst>
        </p14:section>
        <p14:section name="Sector Price Point Distribution Scraped ByManuf" id="{B39262BA-D9D2-4D2E-AE98-EF9F88DA9D55}">
          <p14:sldIdLst>
            <p14:sldId id="2147477371"/>
          </p14:sldIdLst>
        </p14:section>
        <p14:section name="Price Point Comparison Analysis by Manuf" id="{A4CE5ACA-DD2B-469D-BA33-9F859D7A0504}">
          <p14:sldIdLst>
            <p14:sldId id="2147477372"/>
            <p14:sldId id="2147477373"/>
            <p14:sldId id="2147477374"/>
            <p14:sldId id="2147477375"/>
            <p14:sldId id="2147477376"/>
            <p14:sldId id="2147477377"/>
            <p14:sldId id="2147477378"/>
            <p14:sldId id="2147477379"/>
            <p14:sldId id="2147477380"/>
            <p14:sldId id="2147477381"/>
            <p14:sldId id="2147477382"/>
            <p14:sldId id="2147477383"/>
          </p14:sldIdLst>
        </p14:section>
        <p14:section name="Price Point Comparison Analysis by Product" id="{2F8B0154-7F7D-45A2-8DE6-E005C19AFA8F}">
          <p14:sldIdLst>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Price Point Comparison Analysis by Product Scraped" id="{990461EC-C4E1-4AC5-BC30-EB4A6D04ECEA}">
          <p14:sldIdLst>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Lst>
        </p14:section>
        <p14:section name="Price Point Comparison Analysis by Manuf Scraped" id="{25C62E33-4D37-4785-B23F-0107BF37467E}">
          <p14:sldIdLst>
            <p14:sldId id="2147477428"/>
            <p14:sldId id="2147477429"/>
            <p14:sldId id="2147477430"/>
            <p14:sldId id="2147477431"/>
            <p14:sldId id="2147477432"/>
          </p14:sldIdLst>
        </p14:section>
        <p14:section name="Price Point Distribution Analysis By Brand" id="{CBB9C076-C5D4-4691-AADF-78CEC9DF55FF}">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Lst>
        </p14:section>
        <p14:section name="Price Point Distribution By Brand By Sector" id="{028DCBF2-29D7-4437-BBD6-69C5F3DE6FD9}">
          <p14:sldIdLst>
            <p14:sldId id="2147477448"/>
            <p14:sldId id="2147477449"/>
            <p14:sldId id="2147477450"/>
          </p14:sldIdLst>
        </p14:section>
        <p14:section name="Price Point Distribution By Brand By Segment" id="{917E4C68-090E-440D-9FF4-BA5F031BDCB4}">
          <p14:sldIdLst>
            <p14:sldId id="2147477451"/>
            <p14:sldId id="2147477452"/>
            <p14:sldId id="2147477453"/>
            <p14:sldId id="2147477454"/>
            <p14:sldId id="2147477455"/>
            <p14:sldId id="214747745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notesMaster" Target="notesMasters/notesMaster1.xml"/><Relationship Id="rId98" Type="http://schemas.openxmlformats.org/officeDocument/2006/relationships/presProps" Target="presProps.xml"/><Relationship Id="rId99" Type="http://schemas.openxmlformats.org/officeDocument/2006/relationships/viewProps" Target="viewProps.xml"/><Relationship Id="rId100" Type="http://schemas.openxmlformats.org/officeDocument/2006/relationships/theme" Target="theme/theme1.xml"/><Relationship Id="rId101" Type="http://schemas.openxmlformats.org/officeDocument/2006/relationships/tableStyles" Target="tableStyles.xml"/><Relationship Id="rId10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11.52</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6.78</a:t>
                    </a:r>
                  </a:p>
                </c:rich>
              </c:tx>
              <c:dLblPos val="t"/>
              <c:showLegendKey val="0"/>
              <c:showVal val="1"/>
              <c:showCatName val="0"/>
              <c:showSerName val="0"/>
              <c:showPercent val="0"/>
              <c:showBubbleSize val="0"/>
            </c:dLbl>
            <c:dLbl>
              <c:idx val="5"/>
              <c:tx>
                <c:rich>
                  <a:bodyPr/>
                  <a:lstStyle/>
                  <a:p>
                    <a:r>
                      <a:t>26.97</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11.52</a:t>
                    </a:r>
                  </a:p>
                </c:rich>
              </c:tx>
              <c:dLblPos val="t"/>
              <c:showLegendKey val="0"/>
              <c:showVal val="1"/>
              <c:showCatName val="0"/>
              <c:showSerName val="0"/>
              <c:showPercent val="0"/>
              <c:showBubbleSize val="0"/>
            </c:dLbl>
            <c:dLbl>
              <c:idx val="8"/>
              <c:tx>
                <c:rich>
                  <a:bodyPr/>
                  <a:lstStyle/>
                  <a:p>
                    <a:r>
                      <a:t>6.78</a:t>
                    </a:r>
                  </a:p>
                </c:rich>
              </c:tx>
              <c:dLblPos val="t"/>
              <c:showLegendKey val="0"/>
              <c:showVal val="1"/>
              <c:showCatName val="0"/>
              <c:showSerName val="0"/>
              <c:showPercent val="0"/>
              <c:showBubbleSize val="0"/>
            </c:dLbl>
            <c:dLbl>
              <c:idx val="9"/>
              <c:tx>
                <c:rich>
                  <a:bodyPr/>
                  <a:lstStyle/>
                  <a:p>
                    <a:r>
                      <a:t>15.72</a:t>
                    </a:r>
                  </a:p>
                </c:rich>
              </c:tx>
              <c:dLblPos val="t"/>
              <c:showLegendKey val="0"/>
              <c:showVal val="1"/>
              <c:showCatName val="0"/>
              <c:showSerName val="0"/>
              <c:showPercent val="0"/>
              <c:showBubbleSize val="0"/>
            </c:dLbl>
            <c:dLbl>
              <c:idx val="10"/>
              <c:tx>
                <c:rich>
                  <a:bodyPr/>
                  <a:lstStyle/>
                  <a:p>
                    <a:r>
                      <a:t>9.99</a:t>
                    </a:r>
                  </a:p>
                </c:rich>
              </c:tx>
              <c:dLblPos val="t"/>
              <c:showLegendKey val="0"/>
              <c:showVal val="1"/>
              <c:showCatName val="0"/>
              <c:showSerName val="0"/>
              <c:showPercent val="0"/>
              <c:showBubbleSize val="0"/>
            </c:dLbl>
            <c:dLbl>
              <c:idx val="11"/>
              <c:tx>
                <c:rich>
                  <a:bodyPr/>
                  <a:lstStyle/>
                  <a:p>
                    <a:r>
                      <a:t>27.75</a:t>
                    </a:r>
                  </a:p>
                </c:rich>
              </c:tx>
              <c:dLblPos val="t"/>
              <c:showLegendKey val="0"/>
              <c:showVal val="1"/>
              <c:showCatName val="0"/>
              <c:showSerName val="0"/>
              <c:showPercent val="0"/>
              <c:showBubbleSize val="0"/>
            </c:dLbl>
            <c:dLbl>
              <c:idx val="12"/>
              <c:tx>
                <c:rich>
                  <a:bodyPr/>
                  <a:lstStyle/>
                  <a:p>
                    <a:r>
                      <a:t>6.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SCHICK XTREME 3 SENSITIVE GREEN BLACK 3 BLADE DISPOSABLE SENSITIVE 8CT</c:v>
                </c:pt>
                <c:pt idx="8">
                  <c:v>SCHICK XTREME 3 SENSITIVE GREEN BLACK 3 BLADE DISPOSABLE SENSITIVE 4CT</c:v>
                </c:pt>
                <c:pt idx="9">
                  <c:v>SCHICK XTREME 3 SENSITIVE GREEN BLACK 3 BLADE DISPOSABLE SENSITIVE 12CT</c:v>
                </c:pt>
                <c:pt idx="10">
                  <c:v>SCHICK HYDRO 3 SENSITIVE 3 BLADE RAZOR SENSITIVE 4CT</c:v>
                </c:pt>
                <c:pt idx="11">
                  <c:v>HYDRO 5 DRY SKIN 5 BLADE RAZOR DRY 17CT</c:v>
                </c:pt>
                <c:pt idx="12">
                  <c:v>SCHICK XTREME 3 3 BLADE DISPOSABLE SENSITIVE 6CT</c:v>
                </c:pt>
              </c:strCache>
            </c:strRef>
          </c:cat>
          <c:val>
            <c:numRef>
              <c:f>Sheet1!$B$2:$B$14</c:f>
              <c:numCache>
                <c:formatCode>General</c:formatCode>
                <c:ptCount val="13"/>
                <c:pt idx="0">
                  <c:v>14.97</c:v>
                </c:pt>
                <c:pt idx="1">
                  <c:v>6.78</c:v>
                </c:pt>
                <c:pt idx="2">
                  <c:v>11.52</c:v>
                </c:pt>
                <c:pt idx="3">
                  <c:v>9.97</c:v>
                </c:pt>
                <c:pt idx="4">
                  <c:v>6.78</c:v>
                </c:pt>
                <c:pt idx="5">
                  <c:v>26.97</c:v>
                </c:pt>
                <c:pt idx="6">
                  <c:v>15.72</c:v>
                </c:pt>
                <c:pt idx="7">
                  <c:v>11.52</c:v>
                </c:pt>
                <c:pt idx="8">
                  <c:v>6.78</c:v>
                </c:pt>
                <c:pt idx="9">
                  <c:v>15.72</c:v>
                </c:pt>
                <c:pt idx="10">
                  <c:v>9.99</c:v>
                </c:pt>
                <c:pt idx="11">
                  <c:v>27.75</c:v>
                </c:pt>
                <c:pt idx="12">
                  <c:v>6.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2</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2</c:v>
                </c:pt>
                <c:pt idx="16">
                  <c:v>12.46</c:v>
                </c:pt>
                <c:pt idx="17">
                  <c:v>40.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strCache>
            </c:strRef>
          </c:cat>
          <c:val>
            <c:numRef>
              <c:f>Sheet1!$B$2:$B$16</c:f>
              <c:numCache>
                <c:formatCode>General</c:formatCode>
                <c:ptCount val="15"/>
                <c:pt idx="0">
                  <c:v>15.22</c:v>
                </c:pt>
                <c:pt idx="1">
                  <c:v>10.59</c:v>
                </c:pt>
                <c:pt idx="2">
                  <c:v>26.91</c:v>
                </c:pt>
                <c:pt idx="3">
                  <c:v>16.88</c:v>
                </c:pt>
                <c:pt idx="4">
                  <c:v>13.58</c:v>
                </c:pt>
                <c:pt idx="5">
                  <c:v>10.19</c:v>
                </c:pt>
                <c:pt idx="6">
                  <c:v>17.2</c:v>
                </c:pt>
                <c:pt idx="7">
                  <c:v>24.64</c:v>
                </c:pt>
                <c:pt idx="8">
                  <c:v>16.3</c:v>
                </c:pt>
                <c:pt idx="9">
                  <c:v>18.77</c:v>
                </c:pt>
                <c:pt idx="10">
                  <c:v>19.45</c:v>
                </c:pt>
                <c:pt idx="11">
                  <c:v>42.25</c:v>
                </c:pt>
                <c:pt idx="12">
                  <c:v>13.06</c:v>
                </c:pt>
                <c:pt idx="13">
                  <c:v>32.12</c:v>
                </c:pt>
                <c:pt idx="14">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12.82</a:t>
                    </a:r>
                  </a:p>
                </c:rich>
              </c:tx>
              <c:showLegendKey val="0"/>
              <c:showVal val="1"/>
              <c:showCatName val="0"/>
              <c:showSerName val="0"/>
              <c:showPercent val="0"/>
              <c:showBubbleSize val="0"/>
            </c:dLbl>
            <c:dLbl>
              <c:idx val="7"/>
              <c:tx>
                <c:rich>
                  <a:bodyPr/>
                  <a:lstStyle/>
                  <a:p>
                    <a:r>
                      <a:t>19.98</a:t>
                    </a:r>
                  </a:p>
                </c:rich>
              </c:tx>
              <c:showLegendKey val="0"/>
              <c:showVal val="1"/>
              <c:showCatName val="0"/>
              <c:showSerName val="0"/>
              <c:showPercent val="0"/>
              <c:showBubbleSize val="0"/>
            </c:dLbl>
            <c:dLbl>
              <c:idx val="8"/>
              <c:tx>
                <c:rich>
                  <a:bodyPr/>
                  <a:lstStyle/>
                  <a:p>
                    <a:r>
                      <a:t>6.05</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2</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BIC FLEX 5 HYBRID 5 BLADE HYBRID NORMAL 4CT</c:v>
                </c:pt>
                <c:pt idx="6">
                  <c:v>BIC FLEX 5 HYBRID 5 BLADE HYBRID NORMAL 7CT</c:v>
                </c:pt>
                <c:pt idx="7">
                  <c:v>BIC FLEX 5 HYBRID 5 BLADE HYBRID NORMAL 12CT</c:v>
                </c:pt>
                <c:pt idx="8">
                  <c:v>BIC COMFORT 3 HYBRID 3 BLADE HYBRID SENSITIVE 6CT</c:v>
                </c:pt>
                <c:pt idx="9">
                  <c:v>BIC FLEX 4 4 BLADE HYBRID NORMAL 4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3</c:v>
                </c:pt>
                <c:pt idx="1">
                  <c:v>9.96</c:v>
                </c:pt>
                <c:pt idx="2">
                  <c:v>26.51</c:v>
                </c:pt>
                <c:pt idx="3">
                  <c:v>16.85</c:v>
                </c:pt>
                <c:pt idx="4">
                  <c:v>14.99</c:v>
                </c:pt>
                <c:pt idx="5">
                  <c:v>6.92</c:v>
                </c:pt>
                <c:pt idx="6">
                  <c:v>12.82</c:v>
                </c:pt>
                <c:pt idx="7">
                  <c:v>19.98</c:v>
                </c:pt>
                <c:pt idx="8">
                  <c:v>6.05</c:v>
                </c:pt>
                <c:pt idx="9">
                  <c:v>6.45</c:v>
                </c:pt>
                <c:pt idx="10">
                  <c:v>9.97</c:v>
                </c:pt>
                <c:pt idx="11">
                  <c:v>16.96</c:v>
                </c:pt>
                <c:pt idx="12">
                  <c:v>23.97</c:v>
                </c:pt>
                <c:pt idx="13">
                  <c:v>16.01</c:v>
                </c:pt>
                <c:pt idx="14">
                  <c:v>9.99</c:v>
                </c:pt>
                <c:pt idx="15">
                  <c:v>18.42</c:v>
                </c:pt>
                <c:pt idx="16">
                  <c:v>12.46</c:v>
                </c:pt>
                <c:pt idx="17">
                  <c:v>40.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2</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24.45</a:t>
                    </a:r>
                  </a:p>
                </c:rich>
              </c:tx>
              <c:showLegendKey val="0"/>
              <c:showVal val="1"/>
              <c:showCatName val="0"/>
              <c:showSerName val="0"/>
              <c:showPercent val="0"/>
              <c:showBubbleSize val="0"/>
            </c:dLbl>
            <c:dLbl>
              <c:idx val="12"/>
              <c:tx>
                <c:rich>
                  <a:bodyPr/>
                  <a:lstStyle/>
                  <a:p>
                    <a:r>
                      <a:t>21.35</a:t>
                    </a:r>
                  </a:p>
                </c:rich>
              </c:tx>
              <c:showLegendKey val="0"/>
              <c:showVal val="1"/>
              <c:showCatName val="0"/>
              <c:showSerName val="0"/>
              <c:showPercent val="0"/>
              <c:showBubbleSize val="0"/>
            </c:dLbl>
            <c:dLbl>
              <c:idx val="13"/>
              <c:tx>
                <c:rich>
                  <a:bodyPr/>
                  <a:lstStyle/>
                  <a:p>
                    <a:r>
                      <a:t>10.38</a:t>
                    </a:r>
                  </a:p>
                </c:rich>
              </c:tx>
              <c:showLegendKey val="0"/>
              <c:showVal val="1"/>
              <c:showCatName val="0"/>
              <c:showSerName val="0"/>
              <c:showPercent val="0"/>
              <c:showBubbleSize val="0"/>
            </c:dLbl>
            <c:dLbl>
              <c:idx val="14"/>
              <c:tx>
                <c:rich>
                  <a:bodyPr/>
                  <a:lstStyle/>
                  <a:p>
                    <a:r>
                      <a:t>1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GILLETTE FUSION 5 5 BLADE RAZOR NORMAL 2CT</c:v>
                </c:pt>
                <c:pt idx="11">
                  <c:v>GILLETTE FUSION 5 5 BLADE RAZOR NORMAL 5CT</c:v>
                </c:pt>
                <c:pt idx="12">
                  <c:v>GILLETTE MACH 3 3 BLADE RAZOR NORMAL 6CT</c:v>
                </c:pt>
                <c:pt idx="13">
                  <c:v>GILLETTE MACH 3 3 BLADE RAZOR NORMAL 2CT</c:v>
                </c:pt>
                <c:pt idx="14">
                  <c:v>GILLETTE FUSION 5 5 BLADE RAZOR NORMAL 1CT</c:v>
                </c:pt>
              </c:strCache>
            </c:strRef>
          </c:cat>
          <c:val>
            <c:numRef>
              <c:f>Sheet1!$B$2:$B$16</c:f>
              <c:numCache>
                <c:formatCode>General</c:formatCode>
                <c:ptCount val="15"/>
                <c:pt idx="0">
                  <c:v>10.59</c:v>
                </c:pt>
                <c:pt idx="1">
                  <c:v>11.67</c:v>
                </c:pt>
                <c:pt idx="2">
                  <c:v>38.77</c:v>
                </c:pt>
                <c:pt idx="3">
                  <c:v>12.0</c:v>
                </c:pt>
                <c:pt idx="4">
                  <c:v>12.71</c:v>
                </c:pt>
                <c:pt idx="5">
                  <c:v>16.3</c:v>
                </c:pt>
                <c:pt idx="6">
                  <c:v>18.77</c:v>
                </c:pt>
                <c:pt idx="7">
                  <c:v>10.63</c:v>
                </c:pt>
                <c:pt idx="8">
                  <c:v>12.12</c:v>
                </c:pt>
                <c:pt idx="9">
                  <c:v>9.99</c:v>
                </c:pt>
                <c:pt idx="10">
                  <c:v>13.7</c:v>
                </c:pt>
                <c:pt idx="11">
                  <c:v>24.45</c:v>
                </c:pt>
                <c:pt idx="12">
                  <c:v>21.35</c:v>
                </c:pt>
                <c:pt idx="13">
                  <c:v>10.38</c:v>
                </c:pt>
                <c:pt idx="14">
                  <c:v>1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9.45</a:t>
                    </a:r>
                  </a:p>
                </c:rich>
              </c:tx>
              <c:showLegendKey val="0"/>
              <c:showVal val="1"/>
              <c:showCatName val="0"/>
              <c:showSerName val="0"/>
              <c:showPercent val="0"/>
              <c:showBubbleSize val="0"/>
            </c:dLbl>
            <c:dLbl>
              <c:idx val="9"/>
              <c:tx>
                <c:rich>
                  <a:bodyPr/>
                  <a:lstStyle/>
                  <a:p>
                    <a:r>
                      <a:t>42.25</a:t>
                    </a:r>
                  </a:p>
                </c:rich>
              </c:tx>
              <c:showLegendKey val="0"/>
              <c:showVal val="1"/>
              <c:showCatName val="0"/>
              <c:showSerName val="0"/>
              <c:showPercent val="0"/>
              <c:showBubbleSize val="0"/>
            </c:dLbl>
            <c:dLbl>
              <c:idx val="10"/>
              <c:tx>
                <c:rich>
                  <a:bodyPr/>
                  <a:lstStyle/>
                  <a:p>
                    <a:r>
                      <a:t>13.06</a:t>
                    </a:r>
                  </a:p>
                </c:rich>
              </c:tx>
              <c:showLegendKey val="0"/>
              <c:showVal val="1"/>
              <c:showCatName val="0"/>
              <c:showSerName val="0"/>
              <c:showPercent val="0"/>
              <c:showBubbleSize val="0"/>
            </c:dLbl>
            <c:dLbl>
              <c:idx val="11"/>
              <c:tx>
                <c:rich>
                  <a:bodyPr/>
                  <a:lstStyle/>
                  <a:p>
                    <a:r>
                      <a:t>32.12</a:t>
                    </a:r>
                  </a:p>
                </c:rich>
              </c:tx>
              <c:showLegendKey val="0"/>
              <c:showVal val="1"/>
              <c:showCatName val="0"/>
              <c:showSerName val="0"/>
              <c:showPercent val="0"/>
              <c:showBubbleSize val="0"/>
            </c:dLbl>
            <c:dLbl>
              <c:idx val="12"/>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GILLETTE FUSION 5 5 BLADE REFILL NORMAL 4CT</c:v>
                </c:pt>
                <c:pt idx="9">
                  <c:v>GILLETTE FUSION 5 5 BLADE REFILL NORMAL 16CT</c:v>
                </c:pt>
                <c:pt idx="10">
                  <c:v>GILLETTE MACH 3 3 BLADE REFILL NORMAL 4CT</c:v>
                </c:pt>
                <c:pt idx="11">
                  <c:v>GILLETTE FUSION 5 5 BLADE REFILL NORMAL 8CT</c:v>
                </c:pt>
                <c:pt idx="12">
                  <c:v>GILLETTE FUSION 5 5 BLADE REFILL NORMAL 12CT</c:v>
                </c:pt>
              </c:strCache>
            </c:strRef>
          </c:cat>
          <c:val>
            <c:numRef>
              <c:f>Sheet1!$B$2:$B$14</c:f>
              <c:numCache>
                <c:formatCode>General</c:formatCode>
                <c:ptCount val="13"/>
                <c:pt idx="0">
                  <c:v>15.22</c:v>
                </c:pt>
                <c:pt idx="1">
                  <c:v>26.91</c:v>
                </c:pt>
                <c:pt idx="2">
                  <c:v>16.88</c:v>
                </c:pt>
                <c:pt idx="3">
                  <c:v>13.58</c:v>
                </c:pt>
                <c:pt idx="4">
                  <c:v>23.94</c:v>
                </c:pt>
                <c:pt idx="5">
                  <c:v>10.19</c:v>
                </c:pt>
                <c:pt idx="6">
                  <c:v>17.2</c:v>
                </c:pt>
                <c:pt idx="7">
                  <c:v>24.64</c:v>
                </c:pt>
                <c:pt idx="8">
                  <c:v>19.45</c:v>
                </c:pt>
                <c:pt idx="9">
                  <c:v>42.25</c:v>
                </c:pt>
                <c:pt idx="10">
                  <c:v>13.06</c:v>
                </c:pt>
                <c:pt idx="11">
                  <c:v>32.12</c:v>
                </c:pt>
                <c:pt idx="12">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2</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2</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strCache>
            </c:strRef>
          </c:cat>
          <c:val>
            <c:numRef>
              <c:f>Sheet1!$B$2:$B$15</c:f>
              <c:numCache>
                <c:formatCode>General</c:formatCode>
                <c:ptCount val="14"/>
                <c:pt idx="0">
                  <c:v>9.96</c:v>
                </c:pt>
                <c:pt idx="1">
                  <c:v>16.85</c:v>
                </c:pt>
                <c:pt idx="2">
                  <c:v>9.99</c:v>
                </c:pt>
                <c:pt idx="3">
                  <c:v>9.94</c:v>
                </c:pt>
                <c:pt idx="4">
                  <c:v>16.01</c:v>
                </c:pt>
                <c:pt idx="5">
                  <c:v>9.99</c:v>
                </c:pt>
                <c:pt idx="6">
                  <c:v>17.92</c:v>
                </c:pt>
                <c:pt idx="7">
                  <c:v>11.97</c:v>
                </c:pt>
                <c:pt idx="8">
                  <c:v>14.99</c:v>
                </c:pt>
                <c:pt idx="9">
                  <c:v>23.89</c:v>
                </c:pt>
                <c:pt idx="10">
                  <c:v>13.47</c:v>
                </c:pt>
                <c:pt idx="11">
                  <c:v>20.81</c:v>
                </c:pt>
                <c:pt idx="12">
                  <c:v>10.12</c:v>
                </c:pt>
                <c:pt idx="13">
                  <c:v>29.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strCache>
            </c:strRef>
          </c:cat>
          <c:val>
            <c:numRef>
              <c:f>Sheet1!$B$2:$B$13</c:f>
              <c:numCache>
                <c:formatCode>General</c:formatCode>
                <c:ptCount val="12"/>
                <c:pt idx="0">
                  <c:v>14.73</c:v>
                </c:pt>
                <c:pt idx="1">
                  <c:v>26.51</c:v>
                </c:pt>
                <c:pt idx="2">
                  <c:v>14.99</c:v>
                </c:pt>
                <c:pt idx="3">
                  <c:v>9.53</c:v>
                </c:pt>
                <c:pt idx="4">
                  <c:v>9.97</c:v>
                </c:pt>
                <c:pt idx="5">
                  <c:v>16.96</c:v>
                </c:pt>
                <c:pt idx="6">
                  <c:v>23.97</c:v>
                </c:pt>
                <c:pt idx="7">
                  <c:v>18.42</c:v>
                </c:pt>
                <c:pt idx="8">
                  <c:v>12.46</c:v>
                </c:pt>
                <c:pt idx="9">
                  <c:v>40.1</c:v>
                </c:pt>
                <c:pt idx="10">
                  <c:v>29.97</c:v>
                </c:pt>
                <c:pt idx="11">
                  <c:v>2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4.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4</c:f>
              <c:numCache>
                <c:formatCode>General</c:formatCode>
                <c:ptCount val="3"/>
                <c:pt idx="0">
                  <c:v>14.97</c:v>
                </c:pt>
                <c:pt idx="1">
                  <c:v>14.13</c:v>
                </c:pt>
                <c:pt idx="2">
                  <c:v>11.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2</c:v>
                </c:pt>
                <c:pt idx="2">
                  <c:v>16.73</c:v>
                </c:pt>
                <c:pt idx="3">
                  <c:v>10.6</c:v>
                </c:pt>
                <c:pt idx="4">
                  <c:v>6.93</c:v>
                </c:pt>
                <c:pt idx="5">
                  <c:v>7.11</c:v>
                </c:pt>
                <c:pt idx="6">
                  <c:v>7.15</c:v>
                </c:pt>
                <c:pt idx="7">
                  <c:v>3.77</c:v>
                </c:pt>
                <c:pt idx="8">
                  <c:v>13.0</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19.44</a:t>
                    </a:r>
                  </a:p>
                </c:rich>
              </c:tx>
              <c:showLegendKey val="0"/>
              <c:showVal val="1"/>
              <c:showCatName val="0"/>
              <c:showSerName val="0"/>
              <c:showPercent val="0"/>
              <c:showBubbleSize val="0"/>
            </c:dLbl>
            <c:dLbl>
              <c:idx val="3"/>
              <c:tx>
                <c:rich>
                  <a:bodyPr/>
                  <a:lstStyle/>
                  <a:p>
                    <a:r>
                      <a:t>42.27</a:t>
                    </a:r>
                  </a:p>
                </c:rich>
              </c:tx>
              <c:showLegendKey val="0"/>
              <c:showVal val="1"/>
              <c:showCatName val="0"/>
              <c:showSerName val="0"/>
              <c:showPercent val="0"/>
              <c:showBubbleSize val="0"/>
            </c:dLbl>
            <c:dLbl>
              <c:idx val="4"/>
              <c:tx>
                <c:rich>
                  <a:bodyPr/>
                  <a:lstStyle/>
                  <a:p>
                    <a:r>
                      <a:t>39.57</a:t>
                    </a:r>
                  </a:p>
                </c:rich>
              </c:tx>
              <c:showLegendKey val="0"/>
              <c:showVal val="1"/>
              <c:showCatName val="0"/>
              <c:showSerName val="0"/>
              <c:showPercent val="0"/>
              <c:showBubbleSize val="0"/>
            </c:dLbl>
            <c:dLbl>
              <c:idx val="5"/>
              <c:tx>
                <c:rich>
                  <a:bodyPr/>
                  <a:lstStyle/>
                  <a:p>
                    <a:r>
                      <a:t>33.57</a:t>
                    </a:r>
                  </a:p>
                </c:rich>
              </c:tx>
              <c:showLegendKey val="0"/>
              <c:showVal val="1"/>
              <c:showCatName val="0"/>
              <c:showSerName val="0"/>
              <c:showPercent val="0"/>
              <c:showBubbleSize val="0"/>
            </c:dLbl>
            <c:dLbl>
              <c:idx val="6"/>
              <c:tx>
                <c:rich>
                  <a:bodyPr/>
                  <a:lstStyle/>
                  <a:p>
                    <a:r>
                      <a:t>46.81</a:t>
                    </a:r>
                  </a:p>
                </c:rich>
              </c:tx>
              <c:showLegendKey val="0"/>
              <c:showVal val="1"/>
              <c:showCatName val="0"/>
              <c:showSerName val="0"/>
              <c:showPercent val="0"/>
              <c:showBubbleSize val="0"/>
            </c:dLbl>
            <c:dLbl>
              <c:idx val="7"/>
              <c:tx>
                <c:rich>
                  <a:bodyPr/>
                  <a:lstStyle/>
                  <a:p>
                    <a:r>
                      <a:t>32.11</a:t>
                    </a:r>
                  </a:p>
                </c:rich>
              </c:tx>
              <c:showLegendKey val="0"/>
              <c:showVal val="1"/>
              <c:showCatName val="0"/>
              <c:showSerName val="0"/>
              <c:showPercent val="0"/>
              <c:showBubbleSize val="0"/>
            </c:dLbl>
            <c:dLbl>
              <c:idx val="8"/>
              <c:tx>
                <c:rich>
                  <a:bodyPr/>
                  <a:lstStyle/>
                  <a:p>
                    <a:r>
                      <a:t>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CK XTREME 3 SENSITIVE BLACK GREEN 3 BLADE DISPOSABLE SENSITIVE 20CT</c:v>
                </c:pt>
                <c:pt idx="1">
                  <c:v>SCHICK XTREME 3 SENSITIVE BLACK 3 BLADE DISPOSABLE SENSITIVE 20CT</c:v>
                </c:pt>
                <c:pt idx="2">
                  <c:v>BIC FLEX 5 BLACK WHITE 5 BLADE DISPOSABLE NORMAL 9CT</c:v>
                </c:pt>
                <c:pt idx="3">
                  <c:v>GILLETTE FUSION 5 5 BLADE REFILL NORMAL 16CT</c:v>
                </c:pt>
                <c:pt idx="4">
                  <c:v>GILLETTE MACH 3 3 BLADE REFILL NORMAL 20CT</c:v>
                </c:pt>
                <c:pt idx="5">
                  <c:v>GILLETTE SENSOR 2 PLUS PIVOT 2 BLADE DISPOSABLE NORMAL 52CT</c:v>
                </c:pt>
                <c:pt idx="6">
                  <c:v>GILLETTE FUSION 5 PROGLIDE 5 BLADE RAZOR NORMAL 13CT</c:v>
                </c:pt>
                <c:pt idx="7">
                  <c:v>GILLETTE FUSION 5 5 BLADE RAZOR NORMAL 9CT</c:v>
                </c:pt>
                <c:pt idx="8">
                  <c:v>HARRY'S ORANGE 5 BLADE RAZOR NORMAL 11CT</c:v>
                </c:pt>
              </c:strCache>
            </c:strRef>
          </c:cat>
          <c:val>
            <c:numRef>
              <c:f>Sheet1!$B$2:$B$10</c:f>
              <c:numCache>
                <c:formatCode>General</c:formatCode>
                <c:ptCount val="9"/>
                <c:pt idx="0">
                  <c:v>20.1</c:v>
                </c:pt>
                <c:pt idx="1">
                  <c:v>24.71</c:v>
                </c:pt>
                <c:pt idx="2">
                  <c:v>19.44</c:v>
                </c:pt>
                <c:pt idx="3">
                  <c:v>42.27</c:v>
                </c:pt>
                <c:pt idx="4">
                  <c:v>39.57</c:v>
                </c:pt>
                <c:pt idx="5">
                  <c:v>33.57</c:v>
                </c:pt>
                <c:pt idx="6">
                  <c:v>46.81</c:v>
                </c:pt>
                <c:pt idx="7">
                  <c:v>32.11</c:v>
                </c:pt>
                <c:pt idx="8">
                  <c:v>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4.99</c:v>
                </c:pt>
                <c:pt idx="2">
                  <c:v>6.92</c:v>
                </c:pt>
                <c:pt idx="3">
                  <c:v>3.43</c:v>
                </c:pt>
                <c:pt idx="4">
                  <c:v>12.82</c:v>
                </c:pt>
                <c:pt idx="5">
                  <c:v>19.98</c:v>
                </c:pt>
                <c:pt idx="6">
                  <c:v>6.94</c:v>
                </c:pt>
                <c:pt idx="7">
                  <c:v>18.42</c:v>
                </c:pt>
                <c:pt idx="8">
                  <c:v>12.46</c:v>
                </c:pt>
                <c:pt idx="9">
                  <c:v>40.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13.0</a:t>
                    </a:r>
                  </a:p>
                </c:rich>
              </c:tx>
              <c:showLegendKey val="0"/>
              <c:showVal val="1"/>
              <c:showCatName val="0"/>
              <c:showSerName val="0"/>
              <c:showPercent val="0"/>
              <c:showBubbleSize val="0"/>
            </c:dLbl>
            <c:dLbl>
              <c:idx val="7"/>
              <c:tx>
                <c:rich>
                  <a:bodyPr/>
                  <a:lstStyle/>
                  <a:p>
                    <a:r>
                      <a:t>6.8</a:t>
                    </a:r>
                  </a:p>
                </c:rich>
              </c:tx>
              <c:showLegendKey val="0"/>
              <c:showVal val="1"/>
              <c:showCatName val="0"/>
              <c:showSerName val="0"/>
              <c:showPercent val="0"/>
              <c:showBubbleSize val="0"/>
            </c:dLbl>
            <c:dLbl>
              <c:idx val="8"/>
              <c:tx>
                <c:rich>
                  <a:bodyPr/>
                  <a:lstStyle/>
                  <a:p>
                    <a:r>
                      <a:t>19.97</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BIC FLEX 5 HYBRID 5 BLADE HYBRID NORMAL 4CT</c:v>
                </c:pt>
                <c:pt idx="6">
                  <c:v>BIC FLEX 5 HYBRID 5 BLADE HYBRID NORMAL 7CT</c:v>
                </c:pt>
                <c:pt idx="7">
                  <c:v>BIC FLEX 4 4 BLADE HYBRID NORMAL 4CT</c:v>
                </c:pt>
                <c:pt idx="8">
                  <c:v>BIC FLEX 5 HYBRID 5 BLADE HYBRID NORMAL 12CT</c:v>
                </c:pt>
                <c:pt idx="9">
                  <c:v>BIC FLEX 5 BLACK WHITE 5 BLADE HYBRID SENSITIVE 3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15.22</c:v>
                </c:pt>
                <c:pt idx="1">
                  <c:v>10.59</c:v>
                </c:pt>
                <c:pt idx="2">
                  <c:v>26.91</c:v>
                </c:pt>
                <c:pt idx="3">
                  <c:v>16.88</c:v>
                </c:pt>
                <c:pt idx="4">
                  <c:v>13.58</c:v>
                </c:pt>
                <c:pt idx="5">
                  <c:v>7.11</c:v>
                </c:pt>
                <c:pt idx="6">
                  <c:v>13.0</c:v>
                </c:pt>
                <c:pt idx="7">
                  <c:v>6.8</c:v>
                </c:pt>
                <c:pt idx="8">
                  <c:v>19.97</c:v>
                </c:pt>
                <c:pt idx="9">
                  <c:v>6.98</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7.11</a:t>
                    </a:r>
                  </a:p>
                </c:rich>
              </c:tx>
              <c:showLegendKey val="0"/>
              <c:showVal val="1"/>
              <c:showCatName val="0"/>
              <c:showSerName val="0"/>
              <c:showPercent val="0"/>
              <c:showBubbleSize val="0"/>
            </c:dLbl>
            <c:dLbl>
              <c:idx val="5"/>
              <c:tx>
                <c:rich>
                  <a:bodyPr/>
                  <a:lstStyle/>
                  <a:p>
                    <a:r>
                      <a:t>13.0</a:t>
                    </a:r>
                  </a:p>
                </c:rich>
              </c:tx>
              <c:showLegendKey val="0"/>
              <c:showVal val="1"/>
              <c:showCatName val="0"/>
              <c:showSerName val="0"/>
              <c:showPercent val="0"/>
              <c:showBubbleSize val="0"/>
            </c:dLbl>
            <c:dLbl>
              <c:idx val="6"/>
              <c:tx>
                <c:rich>
                  <a:bodyPr/>
                  <a:lstStyle/>
                  <a:p>
                    <a:r>
                      <a:t>6.8</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QUATE EASY FIT 5 5 BLADE REFILL NORMAL 4CT</c:v>
                </c:pt>
                <c:pt idx="1">
                  <c:v>EQUATE EASY FIT 5 5 BLADE REFILL NORMAL 12CT</c:v>
                </c:pt>
                <c:pt idx="2">
                  <c:v>EQUATE EASY FIT 5 5 BLADE RAZOR NORMAL 2CT</c:v>
                </c:pt>
                <c:pt idx="3">
                  <c:v>EQUATE EASY FIT 5 5 BLADE REFILL NORMAL 8CT</c:v>
                </c:pt>
                <c:pt idx="4">
                  <c:v>BIC FLEX 5 HYBRID 5 BLADE HYBRID NORMAL 4CT</c:v>
                </c:pt>
                <c:pt idx="5">
                  <c:v>BIC FLEX 5 HYBRID 5 BLADE HYBRID NORMAL 7CT</c:v>
                </c:pt>
                <c:pt idx="6">
                  <c:v>BIC FLEX 4 4 BLADE HYBRID NORMAL 4CT</c:v>
                </c:pt>
                <c:pt idx="7">
                  <c:v>BIC FLEX 5 HYBRID 5 BLADE HYBRID NORMAL 12CT</c:v>
                </c:pt>
                <c:pt idx="8">
                  <c:v>BIC FLEX 5 BLACK WHITE 5 BLADE HYBRID SENSITIVE 3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8.96</c:v>
                </c:pt>
                <c:pt idx="1">
                  <c:v>20.0</c:v>
                </c:pt>
                <c:pt idx="2">
                  <c:v>8.46</c:v>
                </c:pt>
                <c:pt idx="3">
                  <c:v>15.87</c:v>
                </c:pt>
                <c:pt idx="4">
                  <c:v>7.11</c:v>
                </c:pt>
                <c:pt idx="5">
                  <c:v>13.0</c:v>
                </c:pt>
                <c:pt idx="6">
                  <c:v>6.8</c:v>
                </c:pt>
                <c:pt idx="7">
                  <c:v>19.97</c:v>
                </c:pt>
                <c:pt idx="8">
                  <c:v>6.98</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7.11</a:t>
                    </a:r>
                  </a:p>
                </c:rich>
              </c:tx>
              <c:showLegendKey val="0"/>
              <c:showVal val="1"/>
              <c:showCatName val="0"/>
              <c:showSerName val="0"/>
              <c:showPercent val="0"/>
              <c:showBubbleSize val="0"/>
            </c:dLbl>
            <c:dLbl>
              <c:idx val="5"/>
              <c:tx>
                <c:rich>
                  <a:bodyPr/>
                  <a:lstStyle/>
                  <a:p>
                    <a:r>
                      <a:t>13.0</a:t>
                    </a:r>
                  </a:p>
                </c:rich>
              </c:tx>
              <c:showLegendKey val="0"/>
              <c:showVal val="1"/>
              <c:showCatName val="0"/>
              <c:showSerName val="0"/>
              <c:showPercent val="0"/>
              <c:showBubbleSize val="0"/>
            </c:dLbl>
            <c:dLbl>
              <c:idx val="6"/>
              <c:tx>
                <c:rich>
                  <a:bodyPr/>
                  <a:lstStyle/>
                  <a:p>
                    <a:r>
                      <a:t>6.8</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5 HYBRID 5 BLADE HYBRID NORMAL 4CT</c:v>
                </c:pt>
                <c:pt idx="5">
                  <c:v>BIC FLEX 5 HYBRID 5 BLADE HYBRID NORMAL 7CT</c:v>
                </c:pt>
                <c:pt idx="6">
                  <c:v>BIC FLEX 4 4 BLADE HYBRID NORMAL 4CT</c:v>
                </c:pt>
                <c:pt idx="7">
                  <c:v>BIC FLEX 5 HYBRID 5 BLADE HYBRID NORMAL 12CT</c:v>
                </c:pt>
                <c:pt idx="8">
                  <c:v>BIC FLEX 5 BLACK WHITE 5 BLADE HYBRID SENSITIVE 3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2</c:v>
                </c:pt>
                <c:pt idx="2">
                  <c:v>16.73</c:v>
                </c:pt>
                <c:pt idx="3">
                  <c:v>10.6</c:v>
                </c:pt>
                <c:pt idx="4">
                  <c:v>7.11</c:v>
                </c:pt>
                <c:pt idx="5">
                  <c:v>13.0</c:v>
                </c:pt>
                <c:pt idx="6">
                  <c:v>6.8</c:v>
                </c:pt>
                <c:pt idx="7">
                  <c:v>19.97</c:v>
                </c:pt>
                <c:pt idx="8">
                  <c:v>6.98</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26.97</a:t>
                    </a:r>
                  </a:p>
                </c:rich>
              </c:tx>
              <c:dLblPos val="t"/>
              <c:showLegendKey val="0"/>
              <c:showVal val="1"/>
              <c:showCatName val="0"/>
              <c:showSerName val="0"/>
              <c:showPercent val="0"/>
              <c:showBubbleSize val="0"/>
            </c:dLbl>
            <c:dLbl>
              <c:idx val="3"/>
              <c:tx>
                <c:rich>
                  <a:bodyPr/>
                  <a:lstStyle/>
                  <a:p>
                    <a:r>
                      <a:t>9.99</a:t>
                    </a:r>
                  </a:p>
                </c:rich>
              </c:tx>
              <c:dLblPos val="t"/>
              <c:showLegendKey val="0"/>
              <c:showVal val="1"/>
              <c:showCatName val="0"/>
              <c:showSerName val="0"/>
              <c:showPercent val="0"/>
              <c:showBubbleSize val="0"/>
            </c:dLbl>
            <c:dLbl>
              <c:idx val="4"/>
              <c:tx>
                <c:rich>
                  <a:bodyPr/>
                  <a:lstStyle/>
                  <a:p>
                    <a:r>
                      <a:t>27.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DRY SKIN 5 BLADE RAZOR DRY 17CT</c:v>
                </c:pt>
              </c:strCache>
            </c:strRef>
          </c:cat>
          <c:val>
            <c:numRef>
              <c:f>Sheet1!$B$2:$B$6</c:f>
              <c:numCache>
                <c:formatCode>General</c:formatCode>
                <c:ptCount val="5"/>
                <c:pt idx="0">
                  <c:v>14.97</c:v>
                </c:pt>
                <c:pt idx="1">
                  <c:v>9.97</c:v>
                </c:pt>
                <c:pt idx="2">
                  <c:v>26.97</c:v>
                </c:pt>
                <c:pt idx="3">
                  <c:v>9.99</c:v>
                </c:pt>
                <c:pt idx="4">
                  <c:v>2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3.01</a:t>
                    </a:r>
                  </a:p>
                </c:rich>
              </c:tx>
              <c:showLegendKey val="0"/>
              <c:showVal val="1"/>
              <c:showCatName val="0"/>
              <c:showSerName val="0"/>
              <c:showPercent val="0"/>
              <c:showBubbleSize val="0"/>
            </c:dLbl>
            <c:dLbl>
              <c:idx val="16"/>
              <c:tx>
                <c:rich>
                  <a:bodyPr/>
                  <a:lstStyle/>
                  <a:p>
                    <a:r>
                      <a:t>2.79</a:t>
                    </a:r>
                  </a:p>
                </c:rich>
              </c:tx>
              <c:showLegendKey val="0"/>
              <c:showVal val="1"/>
              <c:showCatName val="0"/>
              <c:showSerName val="0"/>
              <c:showPercent val="0"/>
              <c:showBubbleSize val="0"/>
            </c:dLbl>
            <c:dLbl>
              <c:idx val="17"/>
              <c:tx>
                <c:rich>
                  <a:bodyPr/>
                  <a:lstStyle/>
                  <a:p>
                    <a:r>
                      <a:t>6.89</a:t>
                    </a:r>
                  </a:p>
                </c:rich>
              </c:tx>
              <c:showLegendKey val="0"/>
              <c:showVal val="1"/>
              <c:showCatName val="0"/>
              <c:showSerName val="0"/>
              <c:showPercent val="0"/>
              <c:showBubbleSize val="0"/>
            </c:dLbl>
            <c:dLbl>
              <c:idx val="18"/>
              <c:tx>
                <c:rich>
                  <a:bodyPr/>
                  <a:lstStyle/>
                  <a:p>
                    <a:r>
                      <a:t>4.48</a:t>
                    </a:r>
                  </a:p>
                </c:rich>
              </c:tx>
              <c:showLegendKey val="0"/>
              <c:showVal val="1"/>
              <c:showCatName val="0"/>
              <c:showSerName val="0"/>
              <c:showPercent val="0"/>
              <c:showBubbleSize val="0"/>
            </c:dLbl>
            <c:dLbl>
              <c:idx val="19"/>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EQUATE TB (TWIN BLADE) BLUE 2 BLADE DISPOSABLE NORMAL 12CT</c:v>
                </c:pt>
                <c:pt idx="16">
                  <c:v>EQUATE SPEED 3 3 BLADE DISPOSABLE SENSITIVE 4CT</c:v>
                </c:pt>
                <c:pt idx="17">
                  <c:v>EQUATE CALIBER 5 5 BLADE DISPOSABLE NORMAL 3CT</c:v>
                </c:pt>
                <c:pt idx="18">
                  <c:v>EQUATE SPEED 3 3 BLADE DISPOSABLE NORMAL 4CT</c:v>
                </c:pt>
                <c:pt idx="19">
                  <c:v>EQUATE SPEED 3 SENSITIVE GREEN 3 BLADE DISPOSABLE SENSITIVE 8CT</c:v>
                </c:pt>
              </c:strCache>
            </c:strRef>
          </c:cat>
          <c:val>
            <c:numRef>
              <c:f>Sheet1!$B$2:$B$21</c:f>
              <c:numCache>
                <c:formatCode>General</c:formatCode>
                <c:ptCount val="20"/>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pt idx="15">
                  <c:v>3.01</c:v>
                </c:pt>
                <c:pt idx="16">
                  <c:v>2.79</c:v>
                </c:pt>
                <c:pt idx="17">
                  <c:v>6.89</c:v>
                </c:pt>
                <c:pt idx="18">
                  <c:v>4.48</c:v>
                </c:pt>
                <c:pt idx="19">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3.01</a:t>
                    </a:r>
                  </a:p>
                </c:rich>
              </c:tx>
              <c:showLegendKey val="0"/>
              <c:showVal val="1"/>
              <c:showCatName val="0"/>
              <c:showSerName val="0"/>
              <c:showPercent val="0"/>
              <c:showBubbleSize val="0"/>
            </c:dLbl>
            <c:dLbl>
              <c:idx val="16"/>
              <c:tx>
                <c:rich>
                  <a:bodyPr/>
                  <a:lstStyle/>
                  <a:p>
                    <a:r>
                      <a:t>2.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EQUATE SPEED 3 3 BLADE DISPOSABLE SENSITIVE 4CT</c:v>
                </c:pt>
                <c:pt idx="16">
                  <c:v>EQUATE SPEED 3 3 BLADE DISPOSABLE NORMAL 4CT</c:v>
                </c:pt>
              </c:strCache>
            </c:strRef>
          </c:cat>
          <c:val>
            <c:numRef>
              <c:f>Sheet1!$B$2:$B$21</c:f>
              <c:numCache>
                <c:formatCode>General</c:formatCode>
                <c:ptCount val="20"/>
                <c:pt idx="0">
                  <c:v>5.49</c:v>
                </c:pt>
                <c:pt idx="1">
                  <c:v>2.18</c:v>
                </c:pt>
                <c:pt idx="2">
                  <c:v>5.98</c:v>
                </c:pt>
                <c:pt idx="3">
                  <c:v>3.97</c:v>
                </c:pt>
                <c:pt idx="4">
                  <c:v>4.16</c:v>
                </c:pt>
                <c:pt idx="5">
                  <c:v>6.93</c:v>
                </c:pt>
                <c:pt idx="6">
                  <c:v>7.15</c:v>
                </c:pt>
                <c:pt idx="7">
                  <c:v>3.77</c:v>
                </c:pt>
                <c:pt idx="8">
                  <c:v>5.26</c:v>
                </c:pt>
                <c:pt idx="9">
                  <c:v>5.15</c:v>
                </c:pt>
                <c:pt idx="10">
                  <c:v>7.9</c:v>
                </c:pt>
                <c:pt idx="11">
                  <c:v>11.13</c:v>
                </c:pt>
                <c:pt idx="12">
                  <c:v>11.13</c:v>
                </c:pt>
                <c:pt idx="13">
                  <c:v>7.46</c:v>
                </c:pt>
                <c:pt idx="14">
                  <c:v>33.52</c:v>
                </c:pt>
                <c:pt idx="15">
                  <c:v>3.01</c:v>
                </c:pt>
                <c:pt idx="16">
                  <c:v>2.79</c:v>
                </c:pt>
                <c:pt idx="17">
                  <c:v>6.89</c:v>
                </c:pt>
                <c:pt idx="18">
                  <c:v>4.48</c:v>
                </c:pt>
                <c:pt idx="19">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12.82</a:t>
                    </a:r>
                  </a:p>
                </c:rich>
              </c:tx>
              <c:showLegendKey val="0"/>
              <c:showVal val="1"/>
              <c:showCatName val="0"/>
              <c:showSerName val="0"/>
              <c:showPercent val="0"/>
              <c:showBubbleSize val="0"/>
            </c:dLbl>
            <c:dLbl>
              <c:idx val="7"/>
              <c:tx>
                <c:rich>
                  <a:bodyPr/>
                  <a:lstStyle/>
                  <a:p>
                    <a:r>
                      <a:t>19.98</a:t>
                    </a:r>
                  </a:p>
                </c:rich>
              </c:tx>
              <c:showLegendKey val="0"/>
              <c:showVal val="1"/>
              <c:showCatName val="0"/>
              <c:showSerName val="0"/>
              <c:showPercent val="0"/>
              <c:showBubbleSize val="0"/>
            </c:dLbl>
            <c:dLbl>
              <c:idx val="8"/>
              <c:tx>
                <c:rich>
                  <a:bodyPr/>
                  <a:lstStyle/>
                  <a:p>
                    <a:r>
                      <a:t>6.45</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BIC FLEX 5 HYBRID 5 BLADE HYBRID NORMAL 4CT</c:v>
                </c:pt>
                <c:pt idx="6">
                  <c:v>BIC FLEX 5 HYBRID 5 BLADE HYBRID NORMAL 7CT</c:v>
                </c:pt>
                <c:pt idx="7">
                  <c:v>BIC FLEX 5 HYBRID 5 BLADE HYBRID NORMAL 12CT</c:v>
                </c:pt>
                <c:pt idx="8">
                  <c:v>BIC FLEX 4 4 BLADE HYBRID NORMAL 4CT</c:v>
                </c:pt>
                <c:pt idx="9">
                  <c:v>BIC FLEX 5 BLACK WHITE 5 BLADE HYBRID SENSITIVE 3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3</c:v>
                </c:pt>
                <c:pt idx="1">
                  <c:v>9.96</c:v>
                </c:pt>
                <c:pt idx="2">
                  <c:v>26.51</c:v>
                </c:pt>
                <c:pt idx="3">
                  <c:v>9.53</c:v>
                </c:pt>
                <c:pt idx="4">
                  <c:v>9.99</c:v>
                </c:pt>
                <c:pt idx="5">
                  <c:v>6.92</c:v>
                </c:pt>
                <c:pt idx="6">
                  <c:v>12.82</c:v>
                </c:pt>
                <c:pt idx="7">
                  <c:v>19.98</c:v>
                </c:pt>
                <c:pt idx="8">
                  <c:v>6.45</c:v>
                </c:pt>
                <c:pt idx="9">
                  <c:v>6.98</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6.92</a:t>
                    </a:r>
                  </a:p>
                </c:rich>
              </c:tx>
              <c:showLegendKey val="0"/>
              <c:showVal val="1"/>
              <c:showCatName val="0"/>
              <c:showSerName val="0"/>
              <c:showPercent val="0"/>
              <c:showBubbleSize val="0"/>
            </c:dLbl>
            <c:dLbl>
              <c:idx val="5"/>
              <c:tx>
                <c:rich>
                  <a:bodyPr/>
                  <a:lstStyle/>
                  <a:p>
                    <a:r>
                      <a:t>12.82</a:t>
                    </a:r>
                  </a:p>
                </c:rich>
              </c:tx>
              <c:showLegendKey val="0"/>
              <c:showVal val="1"/>
              <c:showCatName val="0"/>
              <c:showSerName val="0"/>
              <c:showPercent val="0"/>
              <c:showBubbleSize val="0"/>
            </c:dLbl>
            <c:dLbl>
              <c:idx val="6"/>
              <c:tx>
                <c:rich>
                  <a:bodyPr/>
                  <a:lstStyle/>
                  <a:p>
                    <a:r>
                      <a:t>19.98</a:t>
                    </a:r>
                  </a:p>
                </c:rich>
              </c:tx>
              <c:showLegendKey val="0"/>
              <c:showVal val="1"/>
              <c:showCatName val="0"/>
              <c:showSerName val="0"/>
              <c:showPercent val="0"/>
              <c:showBubbleSize val="0"/>
            </c:dLbl>
            <c:dLbl>
              <c:idx val="7"/>
              <c:tx>
                <c:rich>
                  <a:bodyPr/>
                  <a:lstStyle/>
                  <a:p>
                    <a:r>
                      <a:t>6.45</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8.42</a:t>
                    </a:r>
                  </a:p>
                </c:rich>
              </c:tx>
              <c:showLegendKey val="0"/>
              <c:showVal val="1"/>
              <c:showCatName val="0"/>
              <c:showSerName val="0"/>
              <c:showPercent val="0"/>
              <c:showBubbleSize val="0"/>
            </c:dLbl>
            <c:dLbl>
              <c:idx val="10"/>
              <c:tx>
                <c:rich>
                  <a:bodyPr/>
                  <a:lstStyle/>
                  <a:p>
                    <a:r>
                      <a:t>12.46</a:t>
                    </a:r>
                  </a:p>
                </c:rich>
              </c:tx>
              <c:showLegendKey val="0"/>
              <c:showVal val="1"/>
              <c:showCatName val="0"/>
              <c:showSerName val="0"/>
              <c:showPercent val="0"/>
              <c:showBubbleSize val="0"/>
            </c:dLbl>
            <c:dLbl>
              <c:idx val="11"/>
              <c:tx>
                <c:rich>
                  <a:bodyPr/>
                  <a:lstStyle/>
                  <a:p>
                    <a:r>
                      <a:t>40.1</a:t>
                    </a:r>
                  </a:p>
                </c:rich>
              </c:tx>
              <c:showLegendKey val="0"/>
              <c:showVal val="1"/>
              <c:showCatName val="0"/>
              <c:showSerName val="0"/>
              <c:showPercent val="0"/>
              <c:showBubbleSize val="0"/>
            </c:dLbl>
            <c:dLbl>
              <c:idx val="12"/>
              <c:tx>
                <c:rich>
                  <a:bodyPr/>
                  <a:lstStyle/>
                  <a:p>
                    <a:r>
                      <a:t>29.97</a:t>
                    </a:r>
                  </a:p>
                </c:rich>
              </c:tx>
              <c:showLegendKey val="0"/>
              <c:showVal val="1"/>
              <c:showCatName val="0"/>
              <c:showSerName val="0"/>
              <c:showPercent val="0"/>
              <c:showBubbleSize val="0"/>
            </c:dLbl>
            <c:dLbl>
              <c:idx val="13"/>
              <c:tx>
                <c:rich>
                  <a:bodyPr/>
                  <a:lstStyle/>
                  <a:p>
                    <a:r>
                      <a:t>23.89</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16.96</a:t>
                    </a:r>
                  </a:p>
                </c:rich>
              </c:tx>
              <c:showLegendKey val="0"/>
              <c:showVal val="1"/>
              <c:showCatName val="0"/>
              <c:showSerName val="0"/>
              <c:showPercent val="0"/>
              <c:showBubbleSize val="0"/>
            </c:dLbl>
            <c:dLbl>
              <c:idx val="16"/>
              <c:tx>
                <c:rich>
                  <a:bodyPr/>
                  <a:lstStyle/>
                  <a:p>
                    <a:r>
                      <a:t>23.97</a:t>
                    </a:r>
                  </a:p>
                </c:rich>
              </c:tx>
              <c:showLegendKey val="0"/>
              <c:showVal val="1"/>
              <c:showCatName val="0"/>
              <c:showSerName val="0"/>
              <c:showPercent val="0"/>
              <c:showBubbleSize val="0"/>
            </c:dLbl>
            <c:dLbl>
              <c:idx val="17"/>
              <c:tx>
                <c:rich>
                  <a:bodyPr/>
                  <a:lstStyle/>
                  <a:p>
                    <a:r>
                      <a:t>16.01</a:t>
                    </a:r>
                  </a:p>
                </c:rich>
              </c:tx>
              <c:showLegendKey val="0"/>
              <c:showVal val="1"/>
              <c:showCatName val="0"/>
              <c:showSerName val="0"/>
              <c:showPercent val="0"/>
              <c:showBubbleSize val="0"/>
            </c:dLbl>
            <c:dLbl>
              <c:idx val="18"/>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QUATE EASY FIT 5 5 BLADE REFILL NORMAL 4CT</c:v>
                </c:pt>
                <c:pt idx="1">
                  <c:v>EQUATE EASY FIT 5 5 BLADE REFILL NORMAL 12CT</c:v>
                </c:pt>
                <c:pt idx="2">
                  <c:v>EQUATE EASY FIT 5 5 BLADE RAZOR NORMAL 2CT</c:v>
                </c:pt>
                <c:pt idx="3">
                  <c:v>EQUATE EASY FIT 5 5 BLADE REFILL NORMAL 8CT</c:v>
                </c:pt>
                <c:pt idx="4">
                  <c:v>BIC FLEX 5 HYBRID 5 BLADE HYBRID NORMAL 4CT</c:v>
                </c:pt>
                <c:pt idx="5">
                  <c:v>BIC FLEX 5 HYBRID 5 BLADE HYBRID NORMAL 7CT</c:v>
                </c:pt>
                <c:pt idx="6">
                  <c:v>BIC FLEX 5 HYBRID 5 BLADE HYBRID NORMAL 12CT</c:v>
                </c:pt>
                <c:pt idx="7">
                  <c:v>BIC FLEX 4 4 BLADE HYBRID NORMAL 4CT</c:v>
                </c:pt>
                <c:pt idx="8">
                  <c:v>BIC FLEX 5 BLACK WHITE 5 BLADE HYBRID SENSITIVE 3CT</c:v>
                </c:pt>
                <c:pt idx="9">
                  <c:v>GILLETTE FUSION 5 5 BLADE REFILL NORMAL 4CT</c:v>
                </c:pt>
                <c:pt idx="10">
                  <c:v>GILLETTE MACH 3 3 BLADE REFILL NORMAL 4CT</c:v>
                </c:pt>
                <c:pt idx="11">
                  <c:v>GILLETTE FUSION 5 5 BLADE REFILL NORMAL 12CT</c:v>
                </c:pt>
                <c:pt idx="12">
                  <c:v>GILLETTE FUSION 5 5 BLADE REFILL NORMAL 8CT</c:v>
                </c:pt>
                <c:pt idx="13">
                  <c:v>GILLETTE FUSION 5 5 BLADE RAZOR NORMAL 5CT</c:v>
                </c:pt>
                <c:pt idx="14">
                  <c:v>HARRY'S 5 BLADE REFILL NORMAL 4CT</c:v>
                </c:pt>
                <c:pt idx="15">
                  <c:v>HARRY'S 5 BLADE REFILL NORMAL 8CT</c:v>
                </c:pt>
                <c:pt idx="16">
                  <c:v>HARRY'S 5 BLADE REFILL NORMAL 12CT</c:v>
                </c:pt>
                <c:pt idx="17">
                  <c:v>HARRY'S ORANGE 5 BLADE RAZOR NORMAL 5CT</c:v>
                </c:pt>
                <c:pt idx="18">
                  <c:v>HARRY'S SURF BLUE 5 BLADE RAZOR NORMAL 2CT</c:v>
                </c:pt>
              </c:strCache>
            </c:strRef>
          </c:cat>
          <c:val>
            <c:numRef>
              <c:f>Sheet1!$B$2:$B$20</c:f>
              <c:numCache>
                <c:formatCode>General</c:formatCode>
                <c:ptCount val="19"/>
                <c:pt idx="0">
                  <c:v>8.96</c:v>
                </c:pt>
                <c:pt idx="1">
                  <c:v>20.0</c:v>
                </c:pt>
                <c:pt idx="2">
                  <c:v>8.46</c:v>
                </c:pt>
                <c:pt idx="3">
                  <c:v>15.85</c:v>
                </c:pt>
                <c:pt idx="4">
                  <c:v>6.92</c:v>
                </c:pt>
                <c:pt idx="5">
                  <c:v>12.82</c:v>
                </c:pt>
                <c:pt idx="6">
                  <c:v>19.98</c:v>
                </c:pt>
                <c:pt idx="7">
                  <c:v>6.45</c:v>
                </c:pt>
                <c:pt idx="8">
                  <c:v>6.98</c:v>
                </c:pt>
                <c:pt idx="9">
                  <c:v>18.42</c:v>
                </c:pt>
                <c:pt idx="10">
                  <c:v>12.46</c:v>
                </c:pt>
                <c:pt idx="11">
                  <c:v>40.1</c:v>
                </c:pt>
                <c:pt idx="12">
                  <c:v>29.97</c:v>
                </c:pt>
                <c:pt idx="13">
                  <c:v>23.89</c:v>
                </c:pt>
                <c:pt idx="14">
                  <c:v>9.97</c:v>
                </c:pt>
                <c:pt idx="15">
                  <c:v>16.96</c:v>
                </c:pt>
                <c:pt idx="16">
                  <c:v>23.97</c:v>
                </c:pt>
                <c:pt idx="17">
                  <c:v>16.01</c:v>
                </c:pt>
                <c:pt idx="18">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12.82</a:t>
                    </a:r>
                  </a:p>
                </c:rich>
              </c:tx>
              <c:showLegendKey val="0"/>
              <c:showVal val="1"/>
              <c:showCatName val="0"/>
              <c:showSerName val="0"/>
              <c:showPercent val="0"/>
              <c:showBubbleSize val="0"/>
            </c:dLbl>
            <c:dLbl>
              <c:idx val="4"/>
              <c:tx>
                <c:rich>
                  <a:bodyPr/>
                  <a:lstStyle/>
                  <a:p>
                    <a:r>
                      <a:t>19.98</a:t>
                    </a:r>
                  </a:p>
                </c:rich>
              </c:tx>
              <c:showLegendKey val="0"/>
              <c:showVal val="1"/>
              <c:showCatName val="0"/>
              <c:showSerName val="0"/>
              <c:showPercent val="0"/>
              <c:showBubbleSize val="0"/>
            </c:dLbl>
            <c:dLbl>
              <c:idx val="5"/>
              <c:tx>
                <c:rich>
                  <a:bodyPr/>
                  <a:lstStyle/>
                  <a:p>
                    <a:r>
                      <a:t>6.45</a:t>
                    </a:r>
                  </a:p>
                </c:rich>
              </c:tx>
              <c:showLegendKey val="0"/>
              <c:showVal val="1"/>
              <c:showCatName val="0"/>
              <c:showSerName val="0"/>
              <c:showPercent val="0"/>
              <c:showBubbleSize val="0"/>
            </c:dLbl>
            <c:dLbl>
              <c:idx val="6"/>
              <c:tx>
                <c:rich>
                  <a:bodyPr/>
                  <a:lstStyle/>
                  <a:p>
                    <a:r>
                      <a:t>6.98</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FLEX 5 HYBRID 5 BLADE HYBRID NORMAL 7CT</c:v>
                </c:pt>
                <c:pt idx="4">
                  <c:v>BIC FLEX 5 HYBRID 5 BLADE HYBRID NORMAL 12CT</c:v>
                </c:pt>
                <c:pt idx="5">
                  <c:v>BIC FLEX 4 4 BLADE HYBRID NORMAL 4CT</c:v>
                </c:pt>
                <c:pt idx="6">
                  <c:v>BIC FLEX 5 BLACK WHITE 5 BLADE HYBRID SENSITIVE 3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4.99</c:v>
                </c:pt>
                <c:pt idx="2">
                  <c:v>6.92</c:v>
                </c:pt>
                <c:pt idx="3">
                  <c:v>12.82</c:v>
                </c:pt>
                <c:pt idx="4">
                  <c:v>19.98</c:v>
                </c:pt>
                <c:pt idx="5">
                  <c:v>6.45</c:v>
                </c:pt>
                <c:pt idx="6">
                  <c:v>6.98</c:v>
                </c:pt>
                <c:pt idx="7">
                  <c:v>18.42</c:v>
                </c:pt>
                <c:pt idx="8">
                  <c:v>12.46</c:v>
                </c:pt>
                <c:pt idx="9">
                  <c:v>40.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98</a:t>
                    </a:r>
                  </a:p>
                </c:rich>
              </c:tx>
              <c:showLegendKey val="0"/>
              <c:showVal val="1"/>
              <c:showCatName val="0"/>
              <c:showSerName val="0"/>
              <c:showPercent val="0"/>
              <c:showBubbleSize val="0"/>
            </c:dLbl>
            <c:dLbl>
              <c:idx val="16"/>
              <c:tx>
                <c:rich>
                  <a:bodyPr/>
                  <a:lstStyle/>
                  <a:p>
                    <a:r>
                      <a:t>8.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pt idx="15">
                  <c:v>HARRY'S 3 BLADE DISPOSABLE NORMAL 4CT</c:v>
                </c:pt>
                <c:pt idx="16">
                  <c:v>HARRY'S PURPLE 3 BLADE DISPOSABLE NORMAL 8CT</c:v>
                </c:pt>
              </c:strCache>
            </c:strRef>
          </c:cat>
          <c:val>
            <c:numRef>
              <c:f>Sheet1!$B$2:$B$18</c:f>
              <c:numCache>
                <c:formatCode>General</c:formatCode>
                <c:ptCount val="17"/>
                <c:pt idx="0">
                  <c:v>6.5</c:v>
                </c:pt>
                <c:pt idx="1">
                  <c:v>11.02</c:v>
                </c:pt>
                <c:pt idx="2">
                  <c:v>11.02</c:v>
                </c:pt>
                <c:pt idx="3">
                  <c:v>6.53</c:v>
                </c:pt>
                <c:pt idx="4">
                  <c:v>15.1</c:v>
                </c:pt>
                <c:pt idx="5">
                  <c:v>3.43</c:v>
                </c:pt>
                <c:pt idx="6">
                  <c:v>6.94</c:v>
                </c:pt>
                <c:pt idx="7">
                  <c:v>10.92</c:v>
                </c:pt>
                <c:pt idx="8">
                  <c:v>3.98</c:v>
                </c:pt>
                <c:pt idx="9">
                  <c:v>6.45</c:v>
                </c:pt>
                <c:pt idx="10">
                  <c:v>9.98</c:v>
                </c:pt>
                <c:pt idx="11">
                  <c:v>6.97</c:v>
                </c:pt>
                <c:pt idx="12">
                  <c:v>9.98</c:v>
                </c:pt>
                <c:pt idx="13">
                  <c:v>15.0</c:v>
                </c:pt>
                <c:pt idx="14">
                  <c:v>6.97</c:v>
                </c:pt>
                <c:pt idx="15">
                  <c:v>5.98</c:v>
                </c:pt>
                <c:pt idx="16">
                  <c:v>8.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98</a:t>
                    </a:r>
                  </a:p>
                </c:rich>
              </c:tx>
              <c:showLegendKey val="0"/>
              <c:showVal val="1"/>
              <c:showCatName val="0"/>
              <c:showSerName val="0"/>
              <c:showPercent val="0"/>
              <c:showBubbleSize val="0"/>
            </c:dLbl>
            <c:dLbl>
              <c:idx val="16"/>
              <c:tx>
                <c:rich>
                  <a:bodyPr/>
                  <a:lstStyle/>
                  <a:p>
                    <a:r>
                      <a:t>8.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pt idx="15">
                  <c:v>HARRY'S 3 BLADE DISPOSABLE NORMAL 4CT</c:v>
                </c:pt>
                <c:pt idx="16">
                  <c:v>HARRY'S PURPLE 3 BLADE DISPOSABLE NORMAL 8CT</c:v>
                </c:pt>
              </c:strCache>
            </c:strRef>
          </c:cat>
          <c:val>
            <c:numRef>
              <c:f>Sheet1!$B$2:$B$18</c:f>
              <c:numCache>
                <c:formatCode>General</c:formatCode>
                <c:ptCount val="17"/>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pt idx="15">
                  <c:v>5.98</c:v>
                </c:pt>
                <c:pt idx="16">
                  <c:v>8.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9.27</a:t>
                    </a:r>
                  </a:p>
                </c:rich>
              </c:tx>
              <c:showLegendKey val="0"/>
              <c:showVal val="1"/>
              <c:showCatName val="0"/>
              <c:showSerName val="0"/>
              <c:showPercent val="0"/>
              <c:showBubbleSize val="0"/>
            </c:dLbl>
            <c:dLbl>
              <c:idx val="6"/>
              <c:tx>
                <c:rich>
                  <a:bodyPr/>
                  <a:lstStyle/>
                  <a:p>
                    <a:r>
                      <a:t>10.55</a:t>
                    </a:r>
                  </a:p>
                </c:rich>
              </c:tx>
              <c:showLegendKey val="0"/>
              <c:showVal val="1"/>
              <c:showCatName val="0"/>
              <c:showSerName val="0"/>
              <c:showPercent val="0"/>
              <c:showBubbleSize val="0"/>
            </c:dLbl>
            <c:dLbl>
              <c:idx val="7"/>
              <c:tx>
                <c:rich>
                  <a:bodyPr/>
                  <a:lstStyle/>
                  <a:p>
                    <a:r>
                      <a:t>8.91</a:t>
                    </a:r>
                  </a:p>
                </c:rich>
              </c:tx>
              <c:showLegendKey val="0"/>
              <c:showVal val="1"/>
              <c:showCatName val="0"/>
              <c:showSerName val="0"/>
              <c:showPercent val="0"/>
              <c:showBubbleSize val="0"/>
            </c:dLbl>
            <c:dLbl>
              <c:idx val="8"/>
              <c:tx>
                <c:rich>
                  <a:bodyPr/>
                  <a:lstStyle/>
                  <a:p>
                    <a:r>
                      <a:t>8.95</a:t>
                    </a:r>
                  </a:p>
                </c:rich>
              </c:tx>
              <c:showLegendKey val="0"/>
              <c:showVal val="1"/>
              <c:showCatName val="0"/>
              <c:showSerName val="0"/>
              <c:showPercent val="0"/>
              <c:showBubbleSize val="0"/>
            </c:dLbl>
            <c:dLbl>
              <c:idx val="9"/>
              <c:tx>
                <c:rich>
                  <a:bodyPr/>
                  <a:lstStyle/>
                  <a:p>
                    <a:r>
                      <a:t>14.72</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24.45</a:t>
                    </a:r>
                  </a:p>
                </c:rich>
              </c:tx>
              <c:showLegendKey val="0"/>
              <c:showVal val="1"/>
              <c:showCatName val="0"/>
              <c:showSerName val="0"/>
              <c:showPercent val="0"/>
              <c:showBubbleSize val="0"/>
            </c:dLbl>
            <c:dLbl>
              <c:idx val="12"/>
              <c:tx>
                <c:rich>
                  <a:bodyPr/>
                  <a:lstStyle/>
                  <a:p>
                    <a:r>
                      <a:t>21.35</a:t>
                    </a:r>
                  </a:p>
                </c:rich>
              </c:tx>
              <c:showLegendKey val="0"/>
              <c:showVal val="1"/>
              <c:showCatName val="0"/>
              <c:showSerName val="0"/>
              <c:showPercent val="0"/>
              <c:showBubbleSize val="0"/>
            </c:dLbl>
            <c:dLbl>
              <c:idx val="13"/>
              <c:tx>
                <c:rich>
                  <a:bodyPr/>
                  <a:lstStyle/>
                  <a:p>
                    <a:r>
                      <a:t>10.38</a:t>
                    </a:r>
                  </a:p>
                </c:rich>
              </c:tx>
              <c:showLegendKey val="0"/>
              <c:showVal val="1"/>
              <c:showCatName val="0"/>
              <c:showSerName val="0"/>
              <c:showPercent val="0"/>
              <c:showBubbleSize val="0"/>
            </c:dLbl>
            <c:dLbl>
              <c:idx val="14"/>
              <c:tx>
                <c:rich>
                  <a:bodyPr/>
                  <a:lstStyle/>
                  <a:p>
                    <a:r>
                      <a:t>12.37</a:t>
                    </a:r>
                  </a:p>
                </c:rich>
              </c:tx>
              <c:showLegendKey val="0"/>
              <c:showVal val="1"/>
              <c:showCatName val="0"/>
              <c:showSerName val="0"/>
              <c:showPercent val="0"/>
              <c:showBubbleSize val="0"/>
            </c:dLbl>
            <c:dLbl>
              <c:idx val="15"/>
              <c:tx>
                <c:rich>
                  <a:bodyPr/>
                  <a:lstStyle/>
                  <a:p>
                    <a:r>
                      <a:t>16.3</a:t>
                    </a:r>
                  </a:p>
                </c:rich>
              </c:tx>
              <c:showLegendKey val="0"/>
              <c:showVal val="1"/>
              <c:showCatName val="0"/>
              <c:showSerName val="0"/>
              <c:showPercent val="0"/>
              <c:showBubbleSize val="0"/>
            </c:dLbl>
            <c:dLbl>
              <c:idx val="16"/>
              <c:tx>
                <c:rich>
                  <a:bodyPr/>
                  <a:lstStyle/>
                  <a:p>
                    <a:r>
                      <a:t>18.77</a:t>
                    </a:r>
                  </a:p>
                </c:rich>
              </c:tx>
              <c:showLegendKey val="0"/>
              <c:showVal val="1"/>
              <c:showCatName val="0"/>
              <c:showSerName val="0"/>
              <c:showPercent val="0"/>
              <c:showBubbleSize val="0"/>
            </c:dLbl>
            <c:dLbl>
              <c:idx val="17"/>
              <c:tx>
                <c:rich>
                  <a:bodyPr/>
                  <a:lstStyle/>
                  <a:p>
                    <a:r>
                      <a:t>10.63</a:t>
                    </a:r>
                  </a:p>
                </c:rich>
              </c:tx>
              <c:showLegendKey val="0"/>
              <c:showVal val="1"/>
              <c:showCatName val="0"/>
              <c:showSerName val="0"/>
              <c:showPercent val="0"/>
              <c:showBubbleSize val="0"/>
            </c:dLbl>
            <c:dLbl>
              <c:idx val="18"/>
              <c:tx>
                <c:rich>
                  <a:bodyPr/>
                  <a:lstStyle/>
                  <a:p>
                    <a:r>
                      <a:t>12.12</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DOLLAR SHAVE CLUB BLACK 6 BLADE RAZOR NORMAL 2CT</c:v>
                </c:pt>
                <c:pt idx="6">
                  <c:v>DOLLAR SHAVE CLUB BLACK REM BLADES RAZOR NORMAL 2CT</c:v>
                </c:pt>
                <c:pt idx="7">
                  <c:v>DOLLAR SHAVE CLUB BLACK 4 BLADE RAZOR NORMAL 2CT</c:v>
                </c:pt>
                <c:pt idx="8">
                  <c:v>DOLLAR SHAVE CLUB 4 BLADE RAZOR SENSITIVE 2CT</c:v>
                </c:pt>
                <c:pt idx="9">
                  <c:v>DOLLAR SHAVE CLUB SILVER BLACK 6 BLADE RAZOR NORMAL 2CT</c:v>
                </c:pt>
                <c:pt idx="10">
                  <c:v>GILLETTE FUSION 5 5 BLADE RAZOR NORMAL 2CT</c:v>
                </c:pt>
                <c:pt idx="11">
                  <c:v>GILLETTE FUSION 5 5 BLADE RAZOR NORMAL 5CT</c:v>
                </c:pt>
                <c:pt idx="12">
                  <c:v>GILLETTE MACH 3 3 BLADE RAZOR NORMAL 6CT</c:v>
                </c:pt>
                <c:pt idx="13">
                  <c:v>GILLETTE MACH 3 3 BLADE RAZOR NORMAL 2CT</c:v>
                </c:pt>
                <c:pt idx="14">
                  <c:v>GILLETTE FUSION 5 5 BLADE RAZOR NORMAL 1CT</c:v>
                </c:pt>
                <c:pt idx="15">
                  <c:v>HARRY'S ORANGE 5 BLADE RAZOR NORMAL 5CT</c:v>
                </c:pt>
                <c:pt idx="16">
                  <c:v>HARRY'S SILVER 5 BLADE RAZOR NORMAL 5CT</c:v>
                </c:pt>
                <c:pt idx="17">
                  <c:v>HARRY'S NAVY BLUE 5 BLADE RAZOR NORMAL 2CT</c:v>
                </c:pt>
                <c:pt idx="18">
                  <c:v>HARRY'S SILVER 5 BLADE RAZOR NORMAL 2CT</c:v>
                </c:pt>
                <c:pt idx="19">
                  <c:v>HARRY'S SURF BLUE 5 BLADE RAZOR NORMAL 2CT</c:v>
                </c:pt>
              </c:strCache>
            </c:strRef>
          </c:cat>
          <c:val>
            <c:numRef>
              <c:f>Sheet1!$B$2:$B$21</c:f>
              <c:numCache>
                <c:formatCode>General</c:formatCode>
                <c:ptCount val="20"/>
                <c:pt idx="0">
                  <c:v>10.59</c:v>
                </c:pt>
                <c:pt idx="1">
                  <c:v>11.67</c:v>
                </c:pt>
                <c:pt idx="2">
                  <c:v>38.77</c:v>
                </c:pt>
                <c:pt idx="3">
                  <c:v>12.0</c:v>
                </c:pt>
                <c:pt idx="4">
                  <c:v>12.71</c:v>
                </c:pt>
                <c:pt idx="5">
                  <c:v>9.27</c:v>
                </c:pt>
                <c:pt idx="6">
                  <c:v>10.55</c:v>
                </c:pt>
                <c:pt idx="7">
                  <c:v>8.91</c:v>
                </c:pt>
                <c:pt idx="8">
                  <c:v>8.95</c:v>
                </c:pt>
                <c:pt idx="9">
                  <c:v>14.72</c:v>
                </c:pt>
                <c:pt idx="10">
                  <c:v>13.7</c:v>
                </c:pt>
                <c:pt idx="11">
                  <c:v>24.45</c:v>
                </c:pt>
                <c:pt idx="12">
                  <c:v>21.35</c:v>
                </c:pt>
                <c:pt idx="13">
                  <c:v>10.38</c:v>
                </c:pt>
                <c:pt idx="14">
                  <c:v>12.37</c:v>
                </c:pt>
                <c:pt idx="15">
                  <c:v>16.3</c:v>
                </c:pt>
                <c:pt idx="16">
                  <c:v>18.77</c:v>
                </c:pt>
                <c:pt idx="17">
                  <c:v>10.63</c:v>
                </c:pt>
                <c:pt idx="18">
                  <c:v>12.12</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9.27</a:t>
                    </a:r>
                  </a:p>
                </c:rich>
              </c:tx>
              <c:showLegendKey val="0"/>
              <c:showVal val="1"/>
              <c:showCatName val="0"/>
              <c:showSerName val="0"/>
              <c:showPercent val="0"/>
              <c:showBubbleSize val="0"/>
            </c:dLbl>
            <c:dLbl>
              <c:idx val="2"/>
              <c:tx>
                <c:rich>
                  <a:bodyPr/>
                  <a:lstStyle/>
                  <a:p>
                    <a:r>
                      <a:t>10.55</a:t>
                    </a:r>
                  </a:p>
                </c:rich>
              </c:tx>
              <c:showLegendKey val="0"/>
              <c:showVal val="1"/>
              <c:showCatName val="0"/>
              <c:showSerName val="0"/>
              <c:showPercent val="0"/>
              <c:showBubbleSize val="0"/>
            </c:dLbl>
            <c:dLbl>
              <c:idx val="3"/>
              <c:tx>
                <c:rich>
                  <a:bodyPr/>
                  <a:lstStyle/>
                  <a:p>
                    <a:r>
                      <a:t>8.91</a:t>
                    </a:r>
                  </a:p>
                </c:rich>
              </c:tx>
              <c:showLegendKey val="0"/>
              <c:showVal val="1"/>
              <c:showCatName val="0"/>
              <c:showSerName val="0"/>
              <c:showPercent val="0"/>
              <c:showBubbleSize val="0"/>
            </c:dLbl>
            <c:dLbl>
              <c:idx val="4"/>
              <c:tx>
                <c:rich>
                  <a:bodyPr/>
                  <a:lstStyle/>
                  <a:p>
                    <a:r>
                      <a:t>8.95</a:t>
                    </a:r>
                  </a:p>
                </c:rich>
              </c:tx>
              <c:showLegendKey val="0"/>
              <c:showVal val="1"/>
              <c:showCatName val="0"/>
              <c:showSerName val="0"/>
              <c:showPercent val="0"/>
              <c:showBubbleSize val="0"/>
            </c:dLbl>
            <c:dLbl>
              <c:idx val="5"/>
              <c:tx>
                <c:rich>
                  <a:bodyPr/>
                  <a:lstStyle/>
                  <a:p>
                    <a:r>
                      <a:t>14.72</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24.45</a:t>
                    </a:r>
                  </a:p>
                </c:rich>
              </c:tx>
              <c:showLegendKey val="0"/>
              <c:showVal val="1"/>
              <c:showCatName val="0"/>
              <c:showSerName val="0"/>
              <c:showPercent val="0"/>
              <c:showBubbleSize val="0"/>
            </c:dLbl>
            <c:dLbl>
              <c:idx val="8"/>
              <c:tx>
                <c:rich>
                  <a:bodyPr/>
                  <a:lstStyle/>
                  <a:p>
                    <a:r>
                      <a:t>21.35</a:t>
                    </a:r>
                  </a:p>
                </c:rich>
              </c:tx>
              <c:showLegendKey val="0"/>
              <c:showVal val="1"/>
              <c:showCatName val="0"/>
              <c:showSerName val="0"/>
              <c:showPercent val="0"/>
              <c:showBubbleSize val="0"/>
            </c:dLbl>
            <c:dLbl>
              <c:idx val="9"/>
              <c:tx>
                <c:rich>
                  <a:bodyPr/>
                  <a:lstStyle/>
                  <a:p>
                    <a:r>
                      <a:t>10.38</a:t>
                    </a:r>
                  </a:p>
                </c:rich>
              </c:tx>
              <c:showLegendKey val="0"/>
              <c:showVal val="1"/>
              <c:showCatName val="0"/>
              <c:showSerName val="0"/>
              <c:showPercent val="0"/>
              <c:showBubbleSize val="0"/>
            </c:dLbl>
            <c:dLbl>
              <c:idx val="10"/>
              <c:tx>
                <c:rich>
                  <a:bodyPr/>
                  <a:lstStyle/>
                  <a:p>
                    <a:r>
                      <a:t>12.37</a:t>
                    </a:r>
                  </a:p>
                </c:rich>
              </c:tx>
              <c:showLegendKey val="0"/>
              <c:showVal val="1"/>
              <c:showCatName val="0"/>
              <c:showSerName val="0"/>
              <c:showPercent val="0"/>
              <c:showBubbleSize val="0"/>
            </c:dLbl>
            <c:dLbl>
              <c:idx val="11"/>
              <c:tx>
                <c:rich>
                  <a:bodyPr/>
                  <a:lstStyle/>
                  <a:p>
                    <a:r>
                      <a:t>16.3</a:t>
                    </a:r>
                  </a:p>
                </c:rich>
              </c:tx>
              <c:showLegendKey val="0"/>
              <c:showVal val="1"/>
              <c:showCatName val="0"/>
              <c:showSerName val="0"/>
              <c:showPercent val="0"/>
              <c:showBubbleSize val="0"/>
            </c:dLbl>
            <c:dLbl>
              <c:idx val="12"/>
              <c:tx>
                <c:rich>
                  <a:bodyPr/>
                  <a:lstStyle/>
                  <a:p>
                    <a:r>
                      <a:t>18.77</a:t>
                    </a:r>
                  </a:p>
                </c:rich>
              </c:tx>
              <c:showLegendKey val="0"/>
              <c:showVal val="1"/>
              <c:showCatName val="0"/>
              <c:showSerName val="0"/>
              <c:showPercent val="0"/>
              <c:showBubbleSize val="0"/>
            </c:dLbl>
            <c:dLbl>
              <c:idx val="13"/>
              <c:tx>
                <c:rich>
                  <a:bodyPr/>
                  <a:lstStyle/>
                  <a:p>
                    <a:r>
                      <a:t>10.63</a:t>
                    </a:r>
                  </a:p>
                </c:rich>
              </c:tx>
              <c:showLegendKey val="0"/>
              <c:showVal val="1"/>
              <c:showCatName val="0"/>
              <c:showSerName val="0"/>
              <c:showPercent val="0"/>
              <c:showBubbleSize val="0"/>
            </c:dLbl>
            <c:dLbl>
              <c:idx val="14"/>
              <c:tx>
                <c:rich>
                  <a:bodyPr/>
                  <a:lstStyle/>
                  <a:p>
                    <a:r>
                      <a:t>12.12</a:t>
                    </a:r>
                  </a:p>
                </c:rich>
              </c:tx>
              <c:showLegendKey val="0"/>
              <c:showVal val="1"/>
              <c:showCatName val="0"/>
              <c:showSerName val="0"/>
              <c:showPercent val="0"/>
              <c:showBubbleSize val="0"/>
            </c:dLbl>
            <c:dLbl>
              <c:idx val="15"/>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EASY FIT 5 5 BLADE RAZOR NORMAL 2CT</c:v>
                </c:pt>
                <c:pt idx="1">
                  <c:v>DOLLAR SHAVE CLUB BLACK 6 BLADE RAZOR NORMAL 2CT</c:v>
                </c:pt>
                <c:pt idx="2">
                  <c:v>DOLLAR SHAVE CLUB BLACK REM BLADES RAZOR NORMAL 2CT</c:v>
                </c:pt>
                <c:pt idx="3">
                  <c:v>DOLLAR SHAVE CLUB BLACK 4 BLADE RAZOR NORMAL 2CT</c:v>
                </c:pt>
                <c:pt idx="4">
                  <c:v>DOLLAR SHAVE CLUB 4 BLADE RAZOR SENSITIVE 2CT</c:v>
                </c:pt>
                <c:pt idx="5">
                  <c:v>DOLLAR SHAVE CLUB SILVER BLACK 6 BLADE RAZOR NORMAL 2CT</c:v>
                </c:pt>
                <c:pt idx="6">
                  <c:v>GILLETTE FUSION 5 5 BLADE RAZOR NORMAL 2CT</c:v>
                </c:pt>
                <c:pt idx="7">
                  <c:v>GILLETTE FUSION 5 5 BLADE RAZOR NORMAL 5CT</c:v>
                </c:pt>
                <c:pt idx="8">
                  <c:v>GILLETTE MACH 3 3 BLADE RAZOR NORMAL 6CT</c:v>
                </c:pt>
                <c:pt idx="9">
                  <c:v>GILLETTE MACH 3 3 BLADE RAZOR NORMAL 2CT</c:v>
                </c:pt>
                <c:pt idx="10">
                  <c:v>GILLETTE FUSION 5 5 BLADE RAZOR NORMAL 1CT</c:v>
                </c:pt>
                <c:pt idx="11">
                  <c:v>HARRY'S ORANGE 5 BLADE RAZOR NORMAL 5CT</c:v>
                </c:pt>
                <c:pt idx="12">
                  <c:v>HARRY'S SILVER 5 BLADE RAZOR NORMAL 5CT</c:v>
                </c:pt>
                <c:pt idx="13">
                  <c:v>HARRY'S NAVY BLUE 5 BLADE RAZOR NORMAL 2CT</c:v>
                </c:pt>
                <c:pt idx="14">
                  <c:v>HARRY'S SILVER 5 BLADE RAZOR NORMAL 2CT</c:v>
                </c:pt>
                <c:pt idx="15">
                  <c:v>HARRY'S SURF BLUE 5 BLADE RAZOR NORMAL 2CT</c:v>
                </c:pt>
              </c:strCache>
            </c:strRef>
          </c:cat>
          <c:val>
            <c:numRef>
              <c:f>Sheet1!$B$2:$B$17</c:f>
              <c:numCache>
                <c:formatCode>General</c:formatCode>
                <c:ptCount val="16"/>
                <c:pt idx="0">
                  <c:v>8.46</c:v>
                </c:pt>
                <c:pt idx="1">
                  <c:v>9.27</c:v>
                </c:pt>
                <c:pt idx="2">
                  <c:v>10.55</c:v>
                </c:pt>
                <c:pt idx="3">
                  <c:v>8.91</c:v>
                </c:pt>
                <c:pt idx="4">
                  <c:v>8.95</c:v>
                </c:pt>
                <c:pt idx="5">
                  <c:v>14.72</c:v>
                </c:pt>
                <c:pt idx="6">
                  <c:v>13.7</c:v>
                </c:pt>
                <c:pt idx="7">
                  <c:v>24.45</c:v>
                </c:pt>
                <c:pt idx="8">
                  <c:v>21.35</c:v>
                </c:pt>
                <c:pt idx="9">
                  <c:v>10.38</c:v>
                </c:pt>
                <c:pt idx="10">
                  <c:v>12.37</c:v>
                </c:pt>
                <c:pt idx="11">
                  <c:v>16.3</c:v>
                </c:pt>
                <c:pt idx="12">
                  <c:v>18.77</c:v>
                </c:pt>
                <c:pt idx="13">
                  <c:v>10.63</c:v>
                </c:pt>
                <c:pt idx="14">
                  <c:v>12.12</c:v>
                </c:pt>
                <c:pt idx="15">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dLblPos val="t"/>
              <c:showLegendKey val="0"/>
              <c:showVal val="1"/>
              <c:showCatName val="0"/>
              <c:showSerName val="0"/>
              <c:showPercent val="0"/>
              <c:showBubbleSize val="0"/>
            </c:dLbl>
            <c:dLbl>
              <c:idx val="1"/>
              <c:tx>
                <c:rich>
                  <a:bodyPr/>
                  <a:lstStyle/>
                  <a:p>
                    <a:r>
                      <a:t>11.52</a:t>
                    </a:r>
                  </a:p>
                </c:rich>
              </c:tx>
              <c:dLblPos val="t"/>
              <c:showLegendKey val="0"/>
              <c:showVal val="1"/>
              <c:showCatName val="0"/>
              <c:showSerName val="0"/>
              <c:showPercent val="0"/>
              <c:showBubbleSize val="0"/>
            </c:dLbl>
            <c:dLbl>
              <c:idx val="2"/>
              <c:tx>
                <c:rich>
                  <a:bodyPr/>
                  <a:lstStyle/>
                  <a:p>
                    <a:r>
                      <a:t>6.78</a:t>
                    </a:r>
                  </a:p>
                </c:rich>
              </c:tx>
              <c:dLblPos val="t"/>
              <c:showLegendKey val="0"/>
              <c:showVal val="1"/>
              <c:showCatName val="0"/>
              <c:showSerName val="0"/>
              <c:showPercent val="0"/>
              <c:showBubbleSize val="0"/>
            </c:dLbl>
            <c:dLbl>
              <c:idx val="3"/>
              <c:tx>
                <c:rich>
                  <a:bodyPr/>
                  <a:lstStyle/>
                  <a:p>
                    <a:r>
                      <a:t>15.72</a:t>
                    </a:r>
                  </a:p>
                </c:rich>
              </c:tx>
              <c:dLblPos val="t"/>
              <c:showLegendKey val="0"/>
              <c:showVal val="1"/>
              <c:showCatName val="0"/>
              <c:showSerName val="0"/>
              <c:showPercent val="0"/>
              <c:showBubbleSize val="0"/>
            </c:dLbl>
            <c:dLbl>
              <c:idx val="4"/>
              <c:tx>
                <c:rich>
                  <a:bodyPr/>
                  <a:lstStyle/>
                  <a:p>
                    <a:r>
                      <a:t>11.52</a:t>
                    </a:r>
                  </a:p>
                </c:rich>
              </c:tx>
              <c:dLblPos val="t"/>
              <c:showLegendKey val="0"/>
              <c:showVal val="1"/>
              <c:showCatName val="0"/>
              <c:showSerName val="0"/>
              <c:showPercent val="0"/>
              <c:showBubbleSize val="0"/>
            </c:dLbl>
            <c:dLbl>
              <c:idx val="5"/>
              <c:tx>
                <c:rich>
                  <a:bodyPr/>
                  <a:lstStyle/>
                  <a:p>
                    <a:r>
                      <a:t>6.78</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6.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4CT</c:v>
                </c:pt>
                <c:pt idx="6">
                  <c:v>SCHICK XTREME 3 SENSITIVE GREEN BLACK 3 BLADE DISPOSABLE SENSITIVE 12CT</c:v>
                </c:pt>
                <c:pt idx="7">
                  <c:v>SCHICK XTREME 3 3 BLADE DISPOSABLE SENSITIVE 6CT</c:v>
                </c:pt>
              </c:strCache>
            </c:strRef>
          </c:cat>
          <c:val>
            <c:numRef>
              <c:f>Sheet1!$B$2:$B$9</c:f>
              <c:numCache>
                <c:formatCode>General</c:formatCode>
                <c:ptCount val="8"/>
                <c:pt idx="0">
                  <c:v>6.78</c:v>
                </c:pt>
                <c:pt idx="1">
                  <c:v>11.52</c:v>
                </c:pt>
                <c:pt idx="2">
                  <c:v>6.78</c:v>
                </c:pt>
                <c:pt idx="3">
                  <c:v>15.72</c:v>
                </c:pt>
                <c:pt idx="4">
                  <c:v>11.52</c:v>
                </c:pt>
                <c:pt idx="5">
                  <c:v>6.78</c:v>
                </c:pt>
                <c:pt idx="6">
                  <c:v>15.72</c:v>
                </c:pt>
                <c:pt idx="7">
                  <c:v>6.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2</a:t>
                    </a:r>
                  </a:p>
                </c:rich>
              </c:tx>
              <c:showLegendKey val="0"/>
              <c:showVal val="1"/>
              <c:showCatName val="0"/>
              <c:showSerName val="0"/>
              <c:showPercent val="0"/>
              <c:showBubbleSize val="0"/>
            </c:dLbl>
            <c:dLbl>
              <c:idx val="1"/>
              <c:tx>
                <c:rich>
                  <a:bodyPr/>
                  <a:lstStyle/>
                  <a:p>
                    <a:r>
                      <a:t>16.73</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9.27</a:t>
                    </a:r>
                  </a:p>
                </c:rich>
              </c:tx>
              <c:showLegendKey val="0"/>
              <c:showVal val="1"/>
              <c:showCatName val="0"/>
              <c:showSerName val="0"/>
              <c:showPercent val="0"/>
              <c:showBubbleSize val="0"/>
            </c:dLbl>
            <c:dLbl>
              <c:idx val="4"/>
              <c:tx>
                <c:rich>
                  <a:bodyPr/>
                  <a:lstStyle/>
                  <a:p>
                    <a:r>
                      <a:t>10.55</a:t>
                    </a:r>
                  </a:p>
                </c:rich>
              </c:tx>
              <c:showLegendKey val="0"/>
              <c:showVal val="1"/>
              <c:showCatName val="0"/>
              <c:showSerName val="0"/>
              <c:showPercent val="0"/>
              <c:showBubbleSize val="0"/>
            </c:dLbl>
            <c:dLbl>
              <c:idx val="5"/>
              <c:tx>
                <c:rich>
                  <a:bodyPr/>
                  <a:lstStyle/>
                  <a:p>
                    <a:r>
                      <a:t>8.91</a:t>
                    </a:r>
                  </a:p>
                </c:rich>
              </c:tx>
              <c:showLegendKey val="0"/>
              <c:showVal val="1"/>
              <c:showCatName val="0"/>
              <c:showSerName val="0"/>
              <c:showPercent val="0"/>
              <c:showBubbleSize val="0"/>
            </c:dLbl>
            <c:dLbl>
              <c:idx val="6"/>
              <c:tx>
                <c:rich>
                  <a:bodyPr/>
                  <a:lstStyle/>
                  <a:p>
                    <a:r>
                      <a:t>8.95</a:t>
                    </a:r>
                  </a:p>
                </c:rich>
              </c:tx>
              <c:showLegendKey val="0"/>
              <c:showVal val="1"/>
              <c:showCatName val="0"/>
              <c:showSerName val="0"/>
              <c:showPercent val="0"/>
              <c:showBubbleSize val="0"/>
            </c:dLbl>
            <c:dLbl>
              <c:idx val="7"/>
              <c:tx>
                <c:rich>
                  <a:bodyPr/>
                  <a:lstStyle/>
                  <a:p>
                    <a:r>
                      <a:t>14.72</a:t>
                    </a:r>
                  </a:p>
                </c:rich>
              </c:tx>
              <c:showLegendKey val="0"/>
              <c:showVal val="1"/>
              <c:showCatName val="0"/>
              <c:showSerName val="0"/>
              <c:showPercent val="0"/>
              <c:showBubbleSize val="0"/>
            </c:dLbl>
            <c:dLbl>
              <c:idx val="8"/>
              <c:tx>
                <c:rich>
                  <a:bodyPr/>
                  <a:lstStyle/>
                  <a:p>
                    <a:r>
                      <a:t>13.7</a:t>
                    </a:r>
                  </a:p>
                </c:rich>
              </c:tx>
              <c:showLegendKey val="0"/>
              <c:showVal val="1"/>
              <c:showCatName val="0"/>
              <c:showSerName val="0"/>
              <c:showPercent val="0"/>
              <c:showBubbleSize val="0"/>
            </c:dLbl>
            <c:dLbl>
              <c:idx val="9"/>
              <c:tx>
                <c:rich>
                  <a:bodyPr/>
                  <a:lstStyle/>
                  <a:p>
                    <a:r>
                      <a:t>24.45</a:t>
                    </a:r>
                  </a:p>
                </c:rich>
              </c:tx>
              <c:showLegendKey val="0"/>
              <c:showVal val="1"/>
              <c:showCatName val="0"/>
              <c:showSerName val="0"/>
              <c:showPercent val="0"/>
              <c:showBubbleSize val="0"/>
            </c:dLbl>
            <c:dLbl>
              <c:idx val="10"/>
              <c:tx>
                <c:rich>
                  <a:bodyPr/>
                  <a:lstStyle/>
                  <a:p>
                    <a:r>
                      <a:t>21.35</a:t>
                    </a:r>
                  </a:p>
                </c:rich>
              </c:tx>
              <c:showLegendKey val="0"/>
              <c:showVal val="1"/>
              <c:showCatName val="0"/>
              <c:showSerName val="0"/>
              <c:showPercent val="0"/>
              <c:showBubbleSize val="0"/>
            </c:dLbl>
            <c:dLbl>
              <c:idx val="11"/>
              <c:tx>
                <c:rich>
                  <a:bodyPr/>
                  <a:lstStyle/>
                  <a:p>
                    <a:r>
                      <a:t>10.38</a:t>
                    </a:r>
                  </a:p>
                </c:rich>
              </c:tx>
              <c:showLegendKey val="0"/>
              <c:showVal val="1"/>
              <c:showCatName val="0"/>
              <c:showSerName val="0"/>
              <c:showPercent val="0"/>
              <c:showBubbleSize val="0"/>
            </c:dLbl>
            <c:dLbl>
              <c:idx val="12"/>
              <c:tx>
                <c:rich>
                  <a:bodyPr/>
                  <a:lstStyle/>
                  <a:p>
                    <a:r>
                      <a:t>12.37</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0.63</a:t>
                    </a:r>
                  </a:p>
                </c:rich>
              </c:tx>
              <c:showLegendKey val="0"/>
              <c:showVal val="1"/>
              <c:showCatName val="0"/>
              <c:showSerName val="0"/>
              <c:showPercent val="0"/>
              <c:showBubbleSize val="0"/>
            </c:dLbl>
            <c:dLbl>
              <c:idx val="16"/>
              <c:tx>
                <c:rich>
                  <a:bodyPr/>
                  <a:lstStyle/>
                  <a:p>
                    <a:r>
                      <a:t>12.12</a:t>
                    </a:r>
                  </a:p>
                </c:rich>
              </c:tx>
              <c:showLegendKey val="0"/>
              <c:showVal val="1"/>
              <c:showCatName val="0"/>
              <c:showSerName val="0"/>
              <c:showPercent val="0"/>
              <c:showBubbleSize val="0"/>
            </c:dLbl>
            <c:dLbl>
              <c:idx val="17"/>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REMO 5 BLADE RAZOR NORMAL 2CT</c:v>
                </c:pt>
                <c:pt idx="1">
                  <c:v>CREMO SILVER HOLIDAY GIFT PACK REM BLADES RAZOR 5CT</c:v>
                </c:pt>
                <c:pt idx="2">
                  <c:v>CREMO SILVER HOLIDAY GIFT PACK 5 BLADE RAZOR 5CT</c:v>
                </c:pt>
                <c:pt idx="3">
                  <c:v>DOLLAR SHAVE CLUB BLACK 6 BLADE RAZOR NORMAL 2CT</c:v>
                </c:pt>
                <c:pt idx="4">
                  <c:v>DOLLAR SHAVE CLUB BLACK REM BLADES RAZOR NORMAL 2CT</c:v>
                </c:pt>
                <c:pt idx="5">
                  <c:v>DOLLAR SHAVE CLUB BLACK 4 BLADE RAZOR NORMAL 2CT</c:v>
                </c:pt>
                <c:pt idx="6">
                  <c:v>DOLLAR SHAVE CLUB 4 BLADE RAZOR SENSITIVE 2CT</c:v>
                </c:pt>
                <c:pt idx="7">
                  <c:v>DOLLAR SHAVE CLUB SILVER BLACK 6 BLADE RAZOR NORMAL 2CT</c:v>
                </c:pt>
                <c:pt idx="8">
                  <c:v>GILLETTE FUSION 5 5 BLADE RAZOR NORMAL 2CT</c:v>
                </c:pt>
                <c:pt idx="9">
                  <c:v>GILLETTE FUSION 5 5 BLADE RAZOR NORMAL 5CT</c:v>
                </c:pt>
                <c:pt idx="10">
                  <c:v>GILLETTE MACH 3 3 BLADE RAZOR NORMAL 6CT</c:v>
                </c:pt>
                <c:pt idx="11">
                  <c:v>GILLETTE MACH 3 3 BLADE RAZOR NORMAL 2CT</c:v>
                </c:pt>
                <c:pt idx="12">
                  <c:v>GILLETTE FUSION 5 5 BLADE RAZOR NORMAL 1CT</c:v>
                </c:pt>
                <c:pt idx="13">
                  <c:v>HARRY'S ORANGE 5 BLADE RAZOR NORMAL 5CT</c:v>
                </c:pt>
                <c:pt idx="14">
                  <c:v>HARRY'S SILVER 5 BLADE RAZOR NORMAL 5CT</c:v>
                </c:pt>
                <c:pt idx="15">
                  <c:v>HARRY'S NAVY BLUE 5 BLADE RAZOR NORMAL 2CT</c:v>
                </c:pt>
                <c:pt idx="16">
                  <c:v>HARRY'S SILVER 5 BLADE RAZOR NORMAL 2CT</c:v>
                </c:pt>
                <c:pt idx="17">
                  <c:v>HARRY'S SURF BLUE 5 BLADE RAZOR NORMAL 2CT</c:v>
                </c:pt>
              </c:strCache>
            </c:strRef>
          </c:cat>
          <c:val>
            <c:numRef>
              <c:f>Sheet1!$B$2:$B$19</c:f>
              <c:numCache>
                <c:formatCode>General</c:formatCode>
                <c:ptCount val="18"/>
                <c:pt idx="0">
                  <c:v>15.52</c:v>
                </c:pt>
                <c:pt idx="1">
                  <c:v>16.73</c:v>
                </c:pt>
                <c:pt idx="2">
                  <c:v>10.6</c:v>
                </c:pt>
                <c:pt idx="3">
                  <c:v>9.27</c:v>
                </c:pt>
                <c:pt idx="4">
                  <c:v>10.55</c:v>
                </c:pt>
                <c:pt idx="5">
                  <c:v>8.91</c:v>
                </c:pt>
                <c:pt idx="6">
                  <c:v>8.95</c:v>
                </c:pt>
                <c:pt idx="7">
                  <c:v>14.72</c:v>
                </c:pt>
                <c:pt idx="8">
                  <c:v>13.7</c:v>
                </c:pt>
                <c:pt idx="9">
                  <c:v>24.45</c:v>
                </c:pt>
                <c:pt idx="10">
                  <c:v>21.35</c:v>
                </c:pt>
                <c:pt idx="11">
                  <c:v>10.38</c:v>
                </c:pt>
                <c:pt idx="12">
                  <c:v>12.37</c:v>
                </c:pt>
                <c:pt idx="13">
                  <c:v>16.3</c:v>
                </c:pt>
                <c:pt idx="14">
                  <c:v>18.77</c:v>
                </c:pt>
                <c:pt idx="15">
                  <c:v>10.63</c:v>
                </c:pt>
                <c:pt idx="16">
                  <c:v>12.12</c:v>
                </c:pt>
                <c:pt idx="1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9.23</a:t>
                    </a:r>
                  </a:p>
                </c:rich>
              </c:tx>
              <c:showLegendKey val="0"/>
              <c:showVal val="1"/>
              <c:showCatName val="0"/>
              <c:showSerName val="0"/>
              <c:showPercent val="0"/>
              <c:showBubbleSize val="0"/>
            </c:dLbl>
            <c:dLbl>
              <c:idx val="6"/>
              <c:tx>
                <c:rich>
                  <a:bodyPr/>
                  <a:lstStyle/>
                  <a:p>
                    <a:r>
                      <a:t>16.91</a:t>
                    </a:r>
                  </a:p>
                </c:rich>
              </c:tx>
              <c:showLegendKey val="0"/>
              <c:showVal val="1"/>
              <c:showCatName val="0"/>
              <c:showSerName val="0"/>
              <c:showPercent val="0"/>
              <c:showBubbleSize val="0"/>
            </c:dLbl>
            <c:dLbl>
              <c:idx val="7"/>
              <c:tx>
                <c:rich>
                  <a:bodyPr/>
                  <a:lstStyle/>
                  <a:p>
                    <a:r>
                      <a:t>8.85</a:t>
                    </a:r>
                  </a:p>
                </c:rich>
              </c:tx>
              <c:showLegendKey val="0"/>
              <c:showVal val="1"/>
              <c:showCatName val="0"/>
              <c:showSerName val="0"/>
              <c:showPercent val="0"/>
              <c:showBubbleSize val="0"/>
            </c:dLbl>
            <c:dLbl>
              <c:idx val="8"/>
              <c:tx>
                <c:rich>
                  <a:bodyPr/>
                  <a:lstStyle/>
                  <a:p>
                    <a:r>
                      <a:t>15.87</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DOLLAR SHAVE CLUB 6 BLADE REFILL NORMAL 4CT</c:v>
                </c:pt>
                <c:pt idx="6">
                  <c:v>DOLLAR SHAVE CLUB 6 BLADE REFILL NORMAL 8CT</c:v>
                </c:pt>
                <c:pt idx="7">
                  <c:v>DOLLAR SHAVE CLUB 4 BLADE REFILL NORMAL 4CT</c:v>
                </c:pt>
                <c:pt idx="8">
                  <c:v>DOLLAR SHAVE CLUB 4 BLADE REFILL NORMAL 8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strCache>
            </c:strRef>
          </c:cat>
          <c:val>
            <c:numRef>
              <c:f>Sheet1!$B$2:$B$18</c:f>
              <c:numCache>
                <c:formatCode>General</c:formatCode>
                <c:ptCount val="17"/>
                <c:pt idx="0">
                  <c:v>15.22</c:v>
                </c:pt>
                <c:pt idx="1">
                  <c:v>26.91</c:v>
                </c:pt>
                <c:pt idx="2">
                  <c:v>16.88</c:v>
                </c:pt>
                <c:pt idx="3">
                  <c:v>13.58</c:v>
                </c:pt>
                <c:pt idx="4">
                  <c:v>23.94</c:v>
                </c:pt>
                <c:pt idx="5">
                  <c:v>9.23</c:v>
                </c:pt>
                <c:pt idx="6">
                  <c:v>16.91</c:v>
                </c:pt>
                <c:pt idx="7">
                  <c:v>8.85</c:v>
                </c:pt>
                <c:pt idx="8">
                  <c:v>15.87</c:v>
                </c:pt>
                <c:pt idx="9">
                  <c:v>19.45</c:v>
                </c:pt>
                <c:pt idx="10">
                  <c:v>42.25</c:v>
                </c:pt>
                <c:pt idx="11">
                  <c:v>13.06</c:v>
                </c:pt>
                <c:pt idx="12">
                  <c:v>32.12</c:v>
                </c:pt>
                <c:pt idx="13">
                  <c:v>42.09</c:v>
                </c:pt>
                <c:pt idx="14">
                  <c:v>10.19</c:v>
                </c:pt>
                <c:pt idx="15">
                  <c:v>17.2</c:v>
                </c:pt>
                <c:pt idx="16">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9.23</a:t>
                    </a:r>
                  </a:p>
                </c:rich>
              </c:tx>
              <c:showLegendKey val="0"/>
              <c:showVal val="1"/>
              <c:showCatName val="0"/>
              <c:showSerName val="0"/>
              <c:showPercent val="0"/>
              <c:showBubbleSize val="0"/>
            </c:dLbl>
            <c:dLbl>
              <c:idx val="4"/>
              <c:tx>
                <c:rich>
                  <a:bodyPr/>
                  <a:lstStyle/>
                  <a:p>
                    <a:r>
                      <a:t>16.91</a:t>
                    </a:r>
                  </a:p>
                </c:rich>
              </c:tx>
              <c:showLegendKey val="0"/>
              <c:showVal val="1"/>
              <c:showCatName val="0"/>
              <c:showSerName val="0"/>
              <c:showPercent val="0"/>
              <c:showBubbleSize val="0"/>
            </c:dLbl>
            <c:dLbl>
              <c:idx val="5"/>
              <c:tx>
                <c:rich>
                  <a:bodyPr/>
                  <a:lstStyle/>
                  <a:p>
                    <a:r>
                      <a:t>8.85</a:t>
                    </a:r>
                  </a:p>
                </c:rich>
              </c:tx>
              <c:showLegendKey val="0"/>
              <c:showVal val="1"/>
              <c:showCatName val="0"/>
              <c:showSerName val="0"/>
              <c:showPercent val="0"/>
              <c:showBubbleSize val="0"/>
            </c:dLbl>
            <c:dLbl>
              <c:idx val="6"/>
              <c:tx>
                <c:rich>
                  <a:bodyPr/>
                  <a:lstStyle/>
                  <a:p>
                    <a:r>
                      <a:t>15.87</a:t>
                    </a:r>
                  </a:p>
                </c:rich>
              </c:tx>
              <c:showLegendKey val="0"/>
              <c:showVal val="1"/>
              <c:showCatName val="0"/>
              <c:showSerName val="0"/>
              <c:showPercent val="0"/>
              <c:showBubbleSize val="0"/>
            </c:dLbl>
            <c:dLbl>
              <c:idx val="7"/>
              <c:tx>
                <c:rich>
                  <a:bodyPr/>
                  <a:lstStyle/>
                  <a:p>
                    <a:r>
                      <a:t>19.45</a:t>
                    </a:r>
                  </a:p>
                </c:rich>
              </c:tx>
              <c:showLegendKey val="0"/>
              <c:showVal val="1"/>
              <c:showCatName val="0"/>
              <c:showSerName val="0"/>
              <c:showPercent val="0"/>
              <c:showBubbleSize val="0"/>
            </c:dLbl>
            <c:dLbl>
              <c:idx val="8"/>
              <c:tx>
                <c:rich>
                  <a:bodyPr/>
                  <a:lstStyle/>
                  <a:p>
                    <a:r>
                      <a:t>42.25</a:t>
                    </a:r>
                  </a:p>
                </c:rich>
              </c:tx>
              <c:showLegendKey val="0"/>
              <c:showVal val="1"/>
              <c:showCatName val="0"/>
              <c:showSerName val="0"/>
              <c:showPercent val="0"/>
              <c:showBubbleSize val="0"/>
            </c:dLbl>
            <c:dLbl>
              <c:idx val="9"/>
              <c:tx>
                <c:rich>
                  <a:bodyPr/>
                  <a:lstStyle/>
                  <a:p>
                    <a:r>
                      <a:t>13.06</a:t>
                    </a:r>
                  </a:p>
                </c:rich>
              </c:tx>
              <c:showLegendKey val="0"/>
              <c:showVal val="1"/>
              <c:showCatName val="0"/>
              <c:showSerName val="0"/>
              <c:showPercent val="0"/>
              <c:showBubbleSize val="0"/>
            </c:dLbl>
            <c:dLbl>
              <c:idx val="10"/>
              <c:tx>
                <c:rich>
                  <a:bodyPr/>
                  <a:lstStyle/>
                  <a:p>
                    <a:r>
                      <a:t>32.12</a:t>
                    </a:r>
                  </a:p>
                </c:rich>
              </c:tx>
              <c:showLegendKey val="0"/>
              <c:showVal val="1"/>
              <c:showCatName val="0"/>
              <c:showSerName val="0"/>
              <c:showPercent val="0"/>
              <c:showBubbleSize val="0"/>
            </c:dLbl>
            <c:dLbl>
              <c:idx val="11"/>
              <c:tx>
                <c:rich>
                  <a:bodyPr/>
                  <a:lstStyle/>
                  <a:p>
                    <a:r>
                      <a:t>42.09</a:t>
                    </a:r>
                  </a:p>
                </c:rich>
              </c:tx>
              <c:showLegendKey val="0"/>
              <c:showVal val="1"/>
              <c:showCatName val="0"/>
              <c:showSerName val="0"/>
              <c:showPercent val="0"/>
              <c:showBubbleSize val="0"/>
            </c:dLbl>
            <c:dLbl>
              <c:idx val="12"/>
              <c:tx>
                <c:rich>
                  <a:bodyPr/>
                  <a:lstStyle/>
                  <a:p>
                    <a:r>
                      <a:t>10.19</a:t>
                    </a:r>
                  </a:p>
                </c:rich>
              </c:tx>
              <c:showLegendKey val="0"/>
              <c:showVal val="1"/>
              <c:showCatName val="0"/>
              <c:showSerName val="0"/>
              <c:showPercent val="0"/>
              <c:showBubbleSize val="0"/>
            </c:dLbl>
            <c:dLbl>
              <c:idx val="13"/>
              <c:tx>
                <c:rich>
                  <a:bodyPr/>
                  <a:lstStyle/>
                  <a:p>
                    <a:r>
                      <a:t>17.2</a:t>
                    </a:r>
                  </a:p>
                </c:rich>
              </c:tx>
              <c:showLegendKey val="0"/>
              <c:showVal val="1"/>
              <c:showCatName val="0"/>
              <c:showSerName val="0"/>
              <c:showPercent val="0"/>
              <c:showBubbleSize val="0"/>
            </c:dLbl>
            <c:dLbl>
              <c:idx val="14"/>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EFILL NORMAL 8CT</c:v>
                </c:pt>
                <c:pt idx="3">
                  <c:v>DOLLAR SHAVE CLUB 6 BLADE REFILL NORMAL 4CT</c:v>
                </c:pt>
                <c:pt idx="4">
                  <c:v>DOLLAR SHAVE CLUB 6 BLADE REFILL NORMAL 8CT</c:v>
                </c:pt>
                <c:pt idx="5">
                  <c:v>DOLLAR SHAVE CLUB 4 BLADE REFILL NORMAL 4CT</c:v>
                </c:pt>
                <c:pt idx="6">
                  <c:v>DOLLAR SHAVE CLUB 4 BLADE REFILL NORMAL 8CT</c:v>
                </c:pt>
                <c:pt idx="7">
                  <c:v>GILLETTE FUSION 5 5 BLADE REFILL NORMAL 4CT</c:v>
                </c:pt>
                <c:pt idx="8">
                  <c:v>GILLETTE FUSION 5 5 BLADE REFILL NORMAL 16CT</c:v>
                </c:pt>
                <c:pt idx="9">
                  <c:v>GILLETTE MACH 3 3 BLADE REFILL NORMAL 4CT</c:v>
                </c:pt>
                <c:pt idx="10">
                  <c:v>GILLETTE FUSION 5 5 BLADE REFILL NORMAL 8CT</c:v>
                </c:pt>
                <c:pt idx="11">
                  <c:v>GILLETTE FUSION 5 5 BLADE REFILL NORMAL 12CT</c:v>
                </c:pt>
                <c:pt idx="12">
                  <c:v>HARRY'S 5 BLADE REFILL NORMAL 4CT</c:v>
                </c:pt>
                <c:pt idx="13">
                  <c:v>HARRY'S 5 BLADE REFILL NORMAL 8CT</c:v>
                </c:pt>
                <c:pt idx="14">
                  <c:v>HARRY'S 5 BLADE REFILL NORMAL 12CT</c:v>
                </c:pt>
              </c:strCache>
            </c:strRef>
          </c:cat>
          <c:val>
            <c:numRef>
              <c:f>Sheet1!$B$2:$B$16</c:f>
              <c:numCache>
                <c:formatCode>General</c:formatCode>
                <c:ptCount val="15"/>
                <c:pt idx="0">
                  <c:v>8.96</c:v>
                </c:pt>
                <c:pt idx="1">
                  <c:v>20.0</c:v>
                </c:pt>
                <c:pt idx="2">
                  <c:v>15.87</c:v>
                </c:pt>
                <c:pt idx="3">
                  <c:v>9.23</c:v>
                </c:pt>
                <c:pt idx="4">
                  <c:v>16.91</c:v>
                </c:pt>
                <c:pt idx="5">
                  <c:v>8.85</c:v>
                </c:pt>
                <c:pt idx="6">
                  <c:v>15.87</c:v>
                </c:pt>
                <c:pt idx="7">
                  <c:v>19.45</c:v>
                </c:pt>
                <c:pt idx="8">
                  <c:v>42.25</c:v>
                </c:pt>
                <c:pt idx="9">
                  <c:v>13.06</c:v>
                </c:pt>
                <c:pt idx="10">
                  <c:v>32.12</c:v>
                </c:pt>
                <c:pt idx="11">
                  <c:v>42.09</c:v>
                </c:pt>
                <c:pt idx="12">
                  <c:v>10.19</c:v>
                </c:pt>
                <c:pt idx="13">
                  <c:v>17.2</c:v>
                </c:pt>
                <c:pt idx="14">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9.23</a:t>
                    </a:r>
                  </a:p>
                </c:rich>
              </c:tx>
              <c:showLegendKey val="0"/>
              <c:showVal val="1"/>
              <c:showCatName val="0"/>
              <c:showSerName val="0"/>
              <c:showPercent val="0"/>
              <c:showBubbleSize val="0"/>
            </c:dLbl>
            <c:dLbl>
              <c:idx val="2"/>
              <c:tx>
                <c:rich>
                  <a:bodyPr/>
                  <a:lstStyle/>
                  <a:p>
                    <a:r>
                      <a:t>16.91</a:t>
                    </a:r>
                  </a:p>
                </c:rich>
              </c:tx>
              <c:showLegendKey val="0"/>
              <c:showVal val="1"/>
              <c:showCatName val="0"/>
              <c:showSerName val="0"/>
              <c:showPercent val="0"/>
              <c:showBubbleSize val="0"/>
            </c:dLbl>
            <c:dLbl>
              <c:idx val="3"/>
              <c:tx>
                <c:rich>
                  <a:bodyPr/>
                  <a:lstStyle/>
                  <a:p>
                    <a:r>
                      <a:t>8.85</a:t>
                    </a:r>
                  </a:p>
                </c:rich>
              </c:tx>
              <c:showLegendKey val="0"/>
              <c:showVal val="1"/>
              <c:showCatName val="0"/>
              <c:showSerName val="0"/>
              <c:showPercent val="0"/>
              <c:showBubbleSize val="0"/>
            </c:dLbl>
            <c:dLbl>
              <c:idx val="4"/>
              <c:tx>
                <c:rich>
                  <a:bodyPr/>
                  <a:lstStyle/>
                  <a:p>
                    <a:r>
                      <a:t>15.87</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EFILL NORMAL 4CT</c:v>
                </c:pt>
                <c:pt idx="1">
                  <c:v>DOLLAR SHAVE CLUB 6 BLADE REFILL NORMAL 4CT</c:v>
                </c:pt>
                <c:pt idx="2">
                  <c:v>DOLLAR SHAVE CLUB 6 BLADE REFILL NORMAL 8CT</c:v>
                </c:pt>
                <c:pt idx="3">
                  <c:v>DOLLAR SHAVE CLUB 4 BLADE REFILL NORMAL 4CT</c:v>
                </c:pt>
                <c:pt idx="4">
                  <c:v>DOLLAR SHAVE CLUB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13.9</c:v>
                </c:pt>
                <c:pt idx="1">
                  <c:v>9.23</c:v>
                </c:pt>
                <c:pt idx="2">
                  <c:v>16.91</c:v>
                </c:pt>
                <c:pt idx="3">
                  <c:v>8.85</c:v>
                </c:pt>
                <c:pt idx="4">
                  <c:v>15.87</c:v>
                </c:pt>
                <c:pt idx="5">
                  <c:v>19.45</c:v>
                </c:pt>
                <c:pt idx="6">
                  <c:v>42.25</c:v>
                </c:pt>
                <c:pt idx="7">
                  <c:v>13.06</c:v>
                </c:pt>
                <c:pt idx="8">
                  <c:v>32.12</c:v>
                </c:pt>
                <c:pt idx="9">
                  <c:v>42.09</c:v>
                </c:pt>
                <c:pt idx="10">
                  <c:v>10.19</c:v>
                </c:pt>
                <c:pt idx="11">
                  <c:v>17.2</c:v>
                </c:pt>
                <c:pt idx="12">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9.05</a:t>
                    </a:r>
                  </a:p>
                </c:rich>
              </c:tx>
              <c:showLegendKey val="0"/>
              <c:showVal val="1"/>
              <c:showCatName val="0"/>
              <c:showSerName val="0"/>
              <c:showPercent val="0"/>
              <c:showBubbleSize val="0"/>
            </c:dLbl>
            <c:dLbl>
              <c:idx val="5"/>
              <c:tx>
                <c:rich>
                  <a:bodyPr/>
                  <a:lstStyle/>
                  <a:p>
                    <a:r>
                      <a:t>23.89</a:t>
                    </a:r>
                  </a:p>
                </c:rich>
              </c:tx>
              <c:showLegendKey val="0"/>
              <c:showVal val="1"/>
              <c:showCatName val="0"/>
              <c:showSerName val="0"/>
              <c:showPercent val="0"/>
              <c:showBubbleSize val="0"/>
            </c:dLbl>
            <c:dLbl>
              <c:idx val="6"/>
              <c:tx>
                <c:rich>
                  <a:bodyPr/>
                  <a:lstStyle/>
                  <a:p>
                    <a:r>
                      <a:t>13.47</a:t>
                    </a:r>
                  </a:p>
                </c:rich>
              </c:tx>
              <c:showLegendKey val="0"/>
              <c:showVal val="1"/>
              <c:showCatName val="0"/>
              <c:showSerName val="0"/>
              <c:showPercent val="0"/>
              <c:showBubbleSize val="0"/>
            </c:dLbl>
            <c:dLbl>
              <c:idx val="7"/>
              <c:tx>
                <c:rich>
                  <a:bodyPr/>
                  <a:lstStyle/>
                  <a:p>
                    <a:r>
                      <a:t>20.81</a:t>
                    </a:r>
                  </a:p>
                </c:rich>
              </c:tx>
              <c:showLegendKey val="0"/>
              <c:showVal val="1"/>
              <c:showCatName val="0"/>
              <c:showSerName val="0"/>
              <c:showPercent val="0"/>
              <c:showBubbleSize val="0"/>
            </c:dLbl>
            <c:dLbl>
              <c:idx val="8"/>
              <c:tx>
                <c:rich>
                  <a:bodyPr/>
                  <a:lstStyle/>
                  <a:p>
                    <a:r>
                      <a:t>10.12</a:t>
                    </a:r>
                  </a:p>
                </c:rich>
              </c:tx>
              <c:showLegendKey val="0"/>
              <c:showVal val="1"/>
              <c:showCatName val="0"/>
              <c:showSerName val="0"/>
              <c:showPercent val="0"/>
              <c:showBubbleSize val="0"/>
            </c:dLbl>
            <c:dLbl>
              <c:idx val="9"/>
              <c:tx>
                <c:rich>
                  <a:bodyPr/>
                  <a:lstStyle/>
                  <a:p>
                    <a:r>
                      <a:t>29.18</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dLbl>
              <c:idx val="12"/>
              <c:tx>
                <c:rich>
                  <a:bodyPr/>
                  <a:lstStyle/>
                  <a:p>
                    <a:r>
                      <a:t>17.92</a:t>
                    </a:r>
                  </a:p>
                </c:rich>
              </c:tx>
              <c:showLegendKey val="0"/>
              <c:showVal val="1"/>
              <c:showCatName val="0"/>
              <c:showSerName val="0"/>
              <c:showPercent val="0"/>
              <c:showBubbleSize val="0"/>
            </c:dLbl>
            <c:dLbl>
              <c:idx val="13"/>
              <c:tx>
                <c:rich>
                  <a:bodyPr/>
                  <a:lstStyle/>
                  <a:p>
                    <a:r>
                      <a:t>11.97</a:t>
                    </a:r>
                  </a:p>
                </c:rich>
              </c:tx>
              <c:showLegendKey val="0"/>
              <c:showVal val="1"/>
              <c:showCatName val="0"/>
              <c:showSerName val="0"/>
              <c:showPercent val="0"/>
              <c:showBubbleSize val="0"/>
            </c:dLbl>
            <c:dLbl>
              <c:idx val="14"/>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SENSITIVE GRAY HOLIDAY GIFT PACK 5 BLADE RAZOR SENSITIVE 3CT</c:v>
                </c:pt>
                <c:pt idx="2">
                  <c:v>SCHICK HYDRO 3 SENSITIVE 3 BLADE RAZOR SENSITIVE 4CT</c:v>
                </c:pt>
                <c:pt idx="3">
                  <c:v>DOLLAR SHAVE CLUB BLACK 6 BLADE RAZOR NORMAL 2CT</c:v>
                </c:pt>
                <c:pt idx="4">
                  <c:v>DOLLAR SHAVE CLUB RED BLUE WHITE 6 BLADE RAZOR NORMAL 2CT</c:v>
                </c:pt>
                <c:pt idx="5">
                  <c:v>GILLETTE FUSION 5 5 BLADE RAZOR NORMAL 5CT</c:v>
                </c:pt>
                <c:pt idx="6">
                  <c:v>GILLETTE FUSION 5 5 BLADE RAZOR NORMAL 2CT</c:v>
                </c:pt>
                <c:pt idx="7">
                  <c:v>GILLETTE MACH 3 3 BLADE RAZOR NORMAL 6CT</c:v>
                </c:pt>
                <c:pt idx="8">
                  <c:v>GILLETTE MACH 3 3 BLADE RAZOR NORMAL 2CT</c:v>
                </c:pt>
                <c:pt idx="9">
                  <c:v>GILLETTE FUSION 5 5 BLADE RAZOR NORMAL 7CT</c:v>
                </c:pt>
                <c:pt idx="10">
                  <c:v>HARRY'S ORANGE 5 BLADE RAZOR NORMAL 5CT</c:v>
                </c:pt>
                <c:pt idx="11">
                  <c:v>HARRY'S SURF BLUE 5 BLADE RAZOR NORMAL 2CT</c:v>
                </c:pt>
                <c:pt idx="12">
                  <c:v>HARRY'S SILVER 5 BLADE RAZOR NORMAL 5CT</c:v>
                </c:pt>
                <c:pt idx="13">
                  <c:v>HARRY'S SILVER 5 BLADE RAZOR NORMAL 2CT</c:v>
                </c:pt>
                <c:pt idx="14">
                  <c:v>HARRY'S CRAFT HANDLE SILVER 5 BLADE RAZOR NORMAL 2CT</c:v>
                </c:pt>
              </c:strCache>
            </c:strRef>
          </c:cat>
          <c:val>
            <c:numRef>
              <c:f>Sheet1!$B$2:$B$16</c:f>
              <c:numCache>
                <c:formatCode>General</c:formatCode>
                <c:ptCount val="15"/>
                <c:pt idx="0">
                  <c:v>9.96</c:v>
                </c:pt>
                <c:pt idx="1">
                  <c:v>9.99</c:v>
                </c:pt>
                <c:pt idx="2">
                  <c:v>9.94</c:v>
                </c:pt>
                <c:pt idx="3">
                  <c:v>8.97</c:v>
                </c:pt>
                <c:pt idx="4">
                  <c:v>9.05</c:v>
                </c:pt>
                <c:pt idx="5">
                  <c:v>23.89</c:v>
                </c:pt>
                <c:pt idx="6">
                  <c:v>13.47</c:v>
                </c:pt>
                <c:pt idx="7">
                  <c:v>20.81</c:v>
                </c:pt>
                <c:pt idx="8">
                  <c:v>10.12</c:v>
                </c:pt>
                <c:pt idx="9">
                  <c:v>29.18</c:v>
                </c:pt>
                <c:pt idx="10">
                  <c:v>16.01</c:v>
                </c:pt>
                <c:pt idx="11">
                  <c:v>9.99</c:v>
                </c:pt>
                <c:pt idx="12">
                  <c:v>17.92</c:v>
                </c:pt>
                <c:pt idx="13">
                  <c:v>11.97</c:v>
                </c:pt>
                <c:pt idx="14">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9.05</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2</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2</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QUATE EASY FIT 5 5 BLADE RAZOR NORMAL 2CT</c:v>
                </c:pt>
                <c:pt idx="1">
                  <c:v>DOLLAR SHAVE CLUB BLACK 6 BLADE RAZOR NORMAL 2CT</c:v>
                </c:pt>
                <c:pt idx="2">
                  <c:v>DOLLAR SHAVE CLUB RED BLUE WHITE 6 BLADE RAZOR NORMAL 2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8.46</c:v>
                </c:pt>
                <c:pt idx="1">
                  <c:v>8.97</c:v>
                </c:pt>
                <c:pt idx="2">
                  <c:v>9.05</c:v>
                </c:pt>
                <c:pt idx="3">
                  <c:v>23.89</c:v>
                </c:pt>
                <c:pt idx="4">
                  <c:v>13.47</c:v>
                </c:pt>
                <c:pt idx="5">
                  <c:v>20.81</c:v>
                </c:pt>
                <c:pt idx="6">
                  <c:v>10.12</c:v>
                </c:pt>
                <c:pt idx="7">
                  <c:v>29.18</c:v>
                </c:pt>
                <c:pt idx="8">
                  <c:v>16.01</c:v>
                </c:pt>
                <c:pt idx="9">
                  <c:v>9.99</c:v>
                </c:pt>
                <c:pt idx="10">
                  <c:v>17.92</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9.05</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2</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2</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DOLLAR SHAVE CLUB BLACK 6 BLADE RAZOR NORMAL 2CT</c:v>
                </c:pt>
                <c:pt idx="2">
                  <c:v>DOLLAR SHAVE CLUB RED BLUE WHITE 6 BLADE RAZOR NORMAL 2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16.85</c:v>
                </c:pt>
                <c:pt idx="1">
                  <c:v>8.97</c:v>
                </c:pt>
                <c:pt idx="2">
                  <c:v>9.05</c:v>
                </c:pt>
                <c:pt idx="3">
                  <c:v>23.89</c:v>
                </c:pt>
                <c:pt idx="4">
                  <c:v>13.47</c:v>
                </c:pt>
                <c:pt idx="5">
                  <c:v>20.81</c:v>
                </c:pt>
                <c:pt idx="6">
                  <c:v>10.12</c:v>
                </c:pt>
                <c:pt idx="7">
                  <c:v>29.18</c:v>
                </c:pt>
                <c:pt idx="8">
                  <c:v>16.01</c:v>
                </c:pt>
                <c:pt idx="9">
                  <c:v>9.99</c:v>
                </c:pt>
                <c:pt idx="10">
                  <c:v>17.92</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6.96</a:t>
                    </a:r>
                  </a:p>
                </c:rich>
              </c:tx>
              <c:showLegendKey val="0"/>
              <c:showVal val="1"/>
              <c:showCatName val="0"/>
              <c:showSerName val="0"/>
              <c:showPercent val="0"/>
              <c:showBubbleSize val="0"/>
            </c:dLbl>
            <c:dLbl>
              <c:idx val="5"/>
              <c:tx>
                <c:rich>
                  <a:bodyPr/>
                  <a:lstStyle/>
                  <a:p>
                    <a:r>
                      <a:t>18.42</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2.46</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HYDRO 5 SENSITIVE 5 BLADE REFILL SENSITIVE 12CT</c:v>
                </c:pt>
                <c:pt idx="2">
                  <c:v>SCHICK HYDRO 3 SENSITIVE 3 BLADE REFILL SENSITIVE 5CT</c:v>
                </c:pt>
                <c:pt idx="3">
                  <c:v>DOLLAR SHAVE CLUB 6 BLADE REFILL NORMAL 4CT</c:v>
                </c:pt>
                <c:pt idx="4">
                  <c:v>DOLLAR SHAVE CLUB 6 BLADE REFILL NORMAL 8CT</c:v>
                </c:pt>
                <c:pt idx="5">
                  <c:v>GILLETTE FUSION 5 5 BLADE REFILL NORMAL 4CT</c:v>
                </c:pt>
                <c:pt idx="6">
                  <c:v>GILLETTE MACH 3 3 BLADE REFILL NORMAL 4CT</c:v>
                </c:pt>
                <c:pt idx="7">
                  <c:v>GILLETTE FUSION 5 5 BLADE REFILL NORMAL 12CT</c:v>
                </c:pt>
                <c:pt idx="8">
                  <c:v>GILLETTE FUSION 5 5 BLADE REFILL NORMAL 8CT</c:v>
                </c:pt>
                <c:pt idx="9">
                  <c:v>GILLETTE MACH 3 3 BLADE REFILL NORMAL 8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14.73</c:v>
                </c:pt>
                <c:pt idx="1">
                  <c:v>26.51</c:v>
                </c:pt>
                <c:pt idx="2">
                  <c:v>9.53</c:v>
                </c:pt>
                <c:pt idx="3">
                  <c:v>8.97</c:v>
                </c:pt>
                <c:pt idx="4">
                  <c:v>16.96</c:v>
                </c:pt>
                <c:pt idx="5">
                  <c:v>18.42</c:v>
                </c:pt>
                <c:pt idx="6">
                  <c:v>12.46</c:v>
                </c:pt>
                <c:pt idx="7">
                  <c:v>40.1</c:v>
                </c:pt>
                <c:pt idx="8">
                  <c:v>29.97</c:v>
                </c:pt>
                <c:pt idx="9">
                  <c:v>22.46</c:v>
                </c:pt>
                <c:pt idx="10">
                  <c:v>9.97</c:v>
                </c:pt>
                <c:pt idx="11">
                  <c:v>16.96</c:v>
                </c:pt>
                <c:pt idx="1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6.96</a:t>
                    </a:r>
                  </a:p>
                </c:rich>
              </c:tx>
              <c:showLegendKey val="0"/>
              <c:showVal val="1"/>
              <c:showCatName val="0"/>
              <c:showSerName val="0"/>
              <c:showPercent val="0"/>
              <c:showBubbleSize val="0"/>
            </c:dLbl>
            <c:dLbl>
              <c:idx val="5"/>
              <c:tx>
                <c:rich>
                  <a:bodyPr/>
                  <a:lstStyle/>
                  <a:p>
                    <a:r>
                      <a:t>18.42</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2.46</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QUATE EASY FIT 5 5 BLADE REFILL NORMAL 4CT</c:v>
                </c:pt>
                <c:pt idx="1">
                  <c:v>EQUATE EASY FIT 5 5 BLADE REFILL NORMAL 12CT</c:v>
                </c:pt>
                <c:pt idx="2">
                  <c:v>EQUATE EASY FIT 5 5 BLADE REFILL NORMAL 8CT</c:v>
                </c:pt>
                <c:pt idx="3">
                  <c:v>DOLLAR SHAVE CLUB 6 BLADE REFILL NORMAL 4CT</c:v>
                </c:pt>
                <c:pt idx="4">
                  <c:v>DOLLAR SHAVE CLUB 6 BLADE REFILL NORMAL 8CT</c:v>
                </c:pt>
                <c:pt idx="5">
                  <c:v>GILLETTE FUSION 5 5 BLADE REFILL NORMAL 4CT</c:v>
                </c:pt>
                <c:pt idx="6">
                  <c:v>GILLETTE MACH 3 3 BLADE REFILL NORMAL 4CT</c:v>
                </c:pt>
                <c:pt idx="7">
                  <c:v>GILLETTE FUSION 5 5 BLADE REFILL NORMAL 12CT</c:v>
                </c:pt>
                <c:pt idx="8">
                  <c:v>GILLETTE FUSION 5 5 BLADE REFILL NORMAL 8CT</c:v>
                </c:pt>
                <c:pt idx="9">
                  <c:v>GILLETTE MACH 3 3 BLADE REFILL NORMAL 8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8.96</c:v>
                </c:pt>
                <c:pt idx="1">
                  <c:v>20.0</c:v>
                </c:pt>
                <c:pt idx="2">
                  <c:v>15.85</c:v>
                </c:pt>
                <c:pt idx="3">
                  <c:v>8.97</c:v>
                </c:pt>
                <c:pt idx="4">
                  <c:v>16.96</c:v>
                </c:pt>
                <c:pt idx="5">
                  <c:v>18.42</c:v>
                </c:pt>
                <c:pt idx="6">
                  <c:v>12.46</c:v>
                </c:pt>
                <c:pt idx="7">
                  <c:v>40.1</c:v>
                </c:pt>
                <c:pt idx="8">
                  <c:v>29.97</c:v>
                </c:pt>
                <c:pt idx="9">
                  <c:v>22.46</c:v>
                </c:pt>
                <c:pt idx="10">
                  <c:v>9.97</c:v>
                </c:pt>
                <c:pt idx="11">
                  <c:v>16.96</c:v>
                </c:pt>
                <c:pt idx="1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6</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EFILL NORMAL 4CT</c:v>
                </c:pt>
                <c:pt idx="1">
                  <c:v>DOLLAR SHAVE CLUB 6 BLADE REFILL NORMAL 4CT</c:v>
                </c:pt>
                <c:pt idx="2">
                  <c:v>DOLLAR SHAVE CLUB 6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99</c:v>
                </c:pt>
                <c:pt idx="1">
                  <c:v>8.97</c:v>
                </c:pt>
                <c:pt idx="2">
                  <c:v>16.96</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4.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4</c:f>
              <c:numCache>
                <c:formatCode>General</c:formatCode>
                <c:ptCount val="3"/>
                <c:pt idx="0">
                  <c:v>14.97</c:v>
                </c:pt>
                <c:pt idx="1">
                  <c:v>14.13</c:v>
                </c:pt>
                <c:pt idx="2">
                  <c:v>11.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52</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26.97</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11.52</a:t>
                    </a:r>
                  </a:p>
                </c:rich>
              </c:tx>
              <c:showLegendKey val="0"/>
              <c:showVal val="1"/>
              <c:showCatName val="0"/>
              <c:showSerName val="0"/>
              <c:showPercent val="0"/>
              <c:showBubbleSize val="0"/>
            </c:dLbl>
            <c:dLbl>
              <c:idx val="10"/>
              <c:tx>
                <c:rich>
                  <a:bodyPr/>
                  <a:lstStyle/>
                  <a:p>
                    <a:r>
                      <a:t>15.72</a:t>
                    </a:r>
                  </a:p>
                </c:rich>
              </c:tx>
              <c:showLegendKey val="0"/>
              <c:showVal val="1"/>
              <c:showCatName val="0"/>
              <c:showSerName val="0"/>
              <c:showPercent val="0"/>
              <c:showBubbleSize val="0"/>
            </c:dLbl>
            <c:dLbl>
              <c:idx val="11"/>
              <c:tx>
                <c:rich>
                  <a:bodyPr/>
                  <a:lstStyle/>
                  <a:p>
                    <a:r>
                      <a:t>27.75</a:t>
                    </a:r>
                  </a:p>
                </c:rich>
              </c:tx>
              <c:showLegendKey val="0"/>
              <c:showVal val="1"/>
              <c:showCatName val="0"/>
              <c:showSerName val="0"/>
              <c:showPercent val="0"/>
              <c:showBubbleSize val="0"/>
            </c:dLbl>
            <c:dLbl>
              <c:idx val="12"/>
              <c:tx>
                <c:rich>
                  <a:bodyPr/>
                  <a:lstStyle/>
                  <a:p>
                    <a:r>
                      <a:t>6.78</a:t>
                    </a:r>
                  </a:p>
                </c:rich>
              </c:tx>
              <c:showLegendKey val="0"/>
              <c:showVal val="1"/>
              <c:showCatName val="0"/>
              <c:showSerName val="0"/>
              <c:showPercent val="0"/>
              <c:showBubbleSize val="0"/>
            </c:dLbl>
            <c:dLbl>
              <c:idx val="13"/>
              <c:tx>
                <c:rich>
                  <a:bodyPr/>
                  <a:lstStyle/>
                  <a:p>
                    <a:r>
                      <a:t>11.29</a:t>
                    </a:r>
                  </a:p>
                </c:rich>
              </c:tx>
              <c:showLegendKey val="0"/>
              <c:showVal val="1"/>
              <c:showCatName val="0"/>
              <c:showSerName val="0"/>
              <c:showPercent val="0"/>
              <c:showBubbleSize val="0"/>
            </c:dLbl>
            <c:dLbl>
              <c:idx val="14"/>
              <c:tx>
                <c:rich>
                  <a:bodyPr/>
                  <a:lstStyle/>
                  <a:p>
                    <a:r>
                      <a:t>4.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HYDRO 5 SENSITIVE 5 BLADE REFILL SENSITIVE 6CT</c:v>
                </c:pt>
                <c:pt idx="3">
                  <c:v>SCHICK XTREME 3 SENSITIVE GREEN 3 BLADE DISPOSABLE SENSITIVE 8CT</c:v>
                </c:pt>
                <c:pt idx="4">
                  <c:v>HYDRO 5 SENSITIVE 5 BLADE RAZOR SENSITIVE 3CT</c:v>
                </c:pt>
                <c:pt idx="5">
                  <c:v>HYDRO 5 SENSITIVE 5 BLADE REFILL SENSITIVE 12CT</c:v>
                </c:pt>
                <c:pt idx="6">
                  <c:v>SCHICK XTREME 3 SENSITIVE BLACK GREEN 3 BLADE DISPOSABLE SENSITIVE 12CT</c:v>
                </c:pt>
                <c:pt idx="7">
                  <c:v>SCHICK XTREME 3 SENSITIVE GREEN BLACK 3 BLADE DISPOSABLE SENSITIVE 4CT</c:v>
                </c:pt>
                <c:pt idx="8">
                  <c:v>SCHICK HYDRO 3 SENSITIVE 3 BLADE RAZOR SENSITIVE 4CT</c:v>
                </c:pt>
                <c:pt idx="9">
                  <c:v>SCHICK XTREME 3 SENSITIVE GREEN BLACK 3 BLADE DISPOSABLE SENSITIVE 8CT</c:v>
                </c:pt>
                <c:pt idx="10">
                  <c:v>SCHICK XTREME 3 SENSITIVE GREEN BLACK 3 BLADE DISPOSABLE SENSITIVE 12CT</c:v>
                </c:pt>
                <c:pt idx="11">
                  <c:v>HYDRO 5 DRY SKIN 5 BLADE RAZOR DRY 17CT</c:v>
                </c:pt>
                <c:pt idx="12">
                  <c:v>SCHICK XTREME 3 3 BLADE DISPOSABLE SENSITIVE 6CT</c:v>
                </c:pt>
                <c:pt idx="13">
                  <c:v>BIC 3 SENSITIVE 3 BLADE DISPOSABLE NORMAL 12CT</c:v>
                </c:pt>
                <c:pt idx="14">
                  <c:v>BIC COMFORT 3 MULTI COLOR 3 BLADE DISPOSABLE SENSITIVE 4CT</c:v>
                </c:pt>
              </c:strCache>
            </c:strRef>
          </c:cat>
          <c:val>
            <c:numRef>
              <c:f>Sheet1!$B$2:$B$16</c:f>
              <c:numCache>
                <c:formatCode>General</c:formatCode>
                <c:ptCount val="15"/>
                <c:pt idx="0">
                  <c:v>6.78</c:v>
                </c:pt>
                <c:pt idx="1">
                  <c:v>6.78</c:v>
                </c:pt>
                <c:pt idx="2">
                  <c:v>14.97</c:v>
                </c:pt>
                <c:pt idx="3">
                  <c:v>11.52</c:v>
                </c:pt>
                <c:pt idx="4">
                  <c:v>9.97</c:v>
                </c:pt>
                <c:pt idx="5">
                  <c:v>26.97</c:v>
                </c:pt>
                <c:pt idx="6">
                  <c:v>15.72</c:v>
                </c:pt>
                <c:pt idx="7">
                  <c:v>6.78</c:v>
                </c:pt>
                <c:pt idx="8">
                  <c:v>9.99</c:v>
                </c:pt>
                <c:pt idx="9">
                  <c:v>11.52</c:v>
                </c:pt>
                <c:pt idx="10">
                  <c:v>15.72</c:v>
                </c:pt>
                <c:pt idx="11">
                  <c:v>27.75</c:v>
                </c:pt>
                <c:pt idx="12">
                  <c:v>6.78</c:v>
                </c:pt>
                <c:pt idx="13">
                  <c:v>11.29</c:v>
                </c:pt>
                <c:pt idx="14">
                  <c:v>4.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5.74</a:t>
                    </a:r>
                  </a:p>
                </c:rich>
              </c:tx>
              <c:showLegendKey val="0"/>
              <c:showVal val="1"/>
              <c:showCatName val="0"/>
              <c:showSerName val="0"/>
              <c:showPercent val="0"/>
              <c:showBubbleSize val="0"/>
            </c:dLbl>
            <c:dLbl>
              <c:idx val="2"/>
              <c:tx>
                <c:rich>
                  <a:bodyPr/>
                  <a:lstStyle/>
                  <a:p>
                    <a:r>
                      <a:t>7.97</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dLbl>
              <c:idx val="6"/>
              <c:tx>
                <c:rich>
                  <a:bodyPr/>
                  <a:lstStyle/>
                  <a:p>
                    <a:r>
                      <a:t>2.08</a:t>
                    </a:r>
                  </a:p>
                </c:rich>
              </c:tx>
              <c:showLegendKey val="0"/>
              <c:showVal val="1"/>
              <c:showCatName val="0"/>
              <c:showSerName val="0"/>
              <c:showPercent val="0"/>
              <c:showBubbleSize val="0"/>
            </c:dLbl>
            <c:dLbl>
              <c:idx val="7"/>
              <c:tx>
                <c:rich>
                  <a:bodyPr/>
                  <a:lstStyle/>
                  <a:p>
                    <a:r>
                      <a:t>1.06</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6.05</a:t>
                    </a:r>
                  </a:p>
                </c:rich>
              </c:tx>
              <c:showLegendKey val="0"/>
              <c:showVal val="1"/>
              <c:showCatName val="0"/>
              <c:showSerName val="0"/>
              <c:showPercent val="0"/>
              <c:showBubbleSize val="0"/>
            </c:dLbl>
            <c:dLbl>
              <c:idx val="11"/>
              <c:tx>
                <c:rich>
                  <a:bodyPr/>
                  <a:lstStyle/>
                  <a:p>
                    <a:r>
                      <a:t>5.22</a:t>
                    </a:r>
                  </a:p>
                </c:rich>
              </c:tx>
              <c:showLegendKey val="0"/>
              <c:showVal val="1"/>
              <c:showCatName val="0"/>
              <c:showSerName val="0"/>
              <c:showPercent val="0"/>
              <c:showBubbleSize val="0"/>
            </c:dLbl>
            <c:dLbl>
              <c:idx val="12"/>
              <c:tx>
                <c:rich>
                  <a:bodyPr/>
                  <a:lstStyle/>
                  <a:p>
                    <a:r>
                      <a:t>6.74</a:t>
                    </a:r>
                  </a:p>
                </c:rich>
              </c:tx>
              <c:showLegendKey val="0"/>
              <c:showVal val="1"/>
              <c:showCatName val="0"/>
              <c:showSerName val="0"/>
              <c:showPercent val="0"/>
              <c:showBubbleSize val="0"/>
            </c:dLbl>
            <c:dLbl>
              <c:idx val="13"/>
              <c:tx>
                <c:rich>
                  <a:bodyPr/>
                  <a:lstStyle/>
                  <a:p>
                    <a:r>
                      <a:t>6.74</a:t>
                    </a:r>
                  </a:p>
                </c:rich>
              </c:tx>
              <c:showLegendKey val="0"/>
              <c:showVal val="1"/>
              <c:showCatName val="0"/>
              <c:showSerName val="0"/>
              <c:showPercent val="0"/>
              <c:showBubbleSize val="0"/>
            </c:dLbl>
            <c:dLbl>
              <c:idx val="14"/>
              <c:tx>
                <c:rich>
                  <a:bodyPr/>
                  <a:lstStyle/>
                  <a:p>
                    <a:r>
                      <a:t>10.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3 3 BLADE DISPOSABLE NORMAL 3CT</c:v>
                </c:pt>
                <c:pt idx="1">
                  <c:v>EQUATE CALIBER 5 5 BLADE DISPOSABLE NORMAL 3CT</c:v>
                </c:pt>
                <c:pt idx="2">
                  <c:v>EQUATE EASY FIT 5 5 BLADE RAZOR NORMAL 2CT</c:v>
                </c:pt>
                <c:pt idx="3">
                  <c:v>EQUATE EASY FIT 5 5 BLADE REFILL NORMAL 12CT</c:v>
                </c:pt>
                <c:pt idx="4">
                  <c:v>EQUATE SPEED 3 SENSITIVE GREEN 3 BLADE DISPOSABLE SENSITIVE 4CT</c:v>
                </c:pt>
                <c:pt idx="5">
                  <c:v>EQUATE SPEED 3 SENSITIVE GREEN 3 BLADE DISPOSABLE SENSITIVE 8CT</c:v>
                </c:pt>
                <c:pt idx="6">
                  <c:v>EQUATE TB (TWIN BLADE) BLUE 2 BLADE DISPOSABLE NORMAL 12CT</c:v>
                </c:pt>
                <c:pt idx="7">
                  <c:v>EQUATE TB (TWIN BLADE) BLUE 2 BLADE DISPOSABLE NORMAL 5CT</c:v>
                </c:pt>
                <c:pt idx="8">
                  <c:v>BIC 3 SENSITIVE 3 BLADE DISPOSABLE NORMAL 12CT</c:v>
                </c:pt>
                <c:pt idx="9">
                  <c:v>BIC COMFORT 3 MULTI COLOR 3 BLADE DISPOSABLE SENSITIVE 4CT</c:v>
                </c:pt>
                <c:pt idx="10">
                  <c:v>BIC EASYRINSE 4 BLADE HYBRID NORMAL 3CT</c:v>
                </c:pt>
                <c:pt idx="11">
                  <c:v>BIC FLEX 3 3 BLADE DISPOSABLE NORMAL 2CT</c:v>
                </c:pt>
                <c:pt idx="12">
                  <c:v>BIC FLEX 4 4 BLADE DISPOSABLE SENSITIVE 3CT</c:v>
                </c:pt>
                <c:pt idx="13">
                  <c:v>BIC FLEX 4 4 BLADE HYBRID NORMAL 4CT</c:v>
                </c:pt>
                <c:pt idx="14">
                  <c:v>BIC FLEX 4 4 BLADE HYBRID SENSITIVE 10CT</c:v>
                </c:pt>
              </c:strCache>
            </c:strRef>
          </c:cat>
          <c:val>
            <c:numRef>
              <c:f>Sheet1!$B$2:$B$16</c:f>
              <c:numCache>
                <c:formatCode>General</c:formatCode>
                <c:ptCount val="15"/>
                <c:pt idx="0">
                  <c:v>4.34</c:v>
                </c:pt>
                <c:pt idx="1">
                  <c:v>5.74</c:v>
                </c:pt>
                <c:pt idx="2">
                  <c:v>7.97</c:v>
                </c:pt>
                <c:pt idx="3">
                  <c:v>14.97</c:v>
                </c:pt>
                <c:pt idx="4">
                  <c:v>4.16</c:v>
                </c:pt>
                <c:pt idx="5">
                  <c:v>5.98</c:v>
                </c:pt>
                <c:pt idx="6">
                  <c:v>2.08</c:v>
                </c:pt>
                <c:pt idx="7">
                  <c:v>1.06</c:v>
                </c:pt>
                <c:pt idx="8">
                  <c:v>11.29</c:v>
                </c:pt>
                <c:pt idx="9">
                  <c:v>4.17</c:v>
                </c:pt>
                <c:pt idx="10">
                  <c:v>6.05</c:v>
                </c:pt>
                <c:pt idx="11">
                  <c:v>5.22</c:v>
                </c:pt>
                <c:pt idx="12">
                  <c:v>6.74</c:v>
                </c:pt>
                <c:pt idx="13">
                  <c:v>6.74</c:v>
                </c:pt>
                <c:pt idx="14">
                  <c:v>10.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1.99</a:t>
                    </a:r>
                  </a:p>
                </c:rich>
              </c:tx>
              <c:showLegendKey val="0"/>
              <c:showVal val="1"/>
              <c:showCatName val="0"/>
              <c:showSerName val="0"/>
              <c:showPercent val="0"/>
              <c:showBubbleSize val="0"/>
            </c:dLbl>
            <c:dLbl>
              <c:idx val="3"/>
              <c:tx>
                <c:rich>
                  <a:bodyPr/>
                  <a:lstStyle/>
                  <a:p>
                    <a:r>
                      <a:t>11.29</a:t>
                    </a:r>
                  </a:p>
                </c:rich>
              </c:tx>
              <c:showLegendKey val="0"/>
              <c:showVal val="1"/>
              <c:showCatName val="0"/>
              <c:showSerName val="0"/>
              <c:showPercent val="0"/>
              <c:showBubbleSize val="0"/>
            </c:dLbl>
            <c:dLbl>
              <c:idx val="4"/>
              <c:tx>
                <c:rich>
                  <a:bodyPr/>
                  <a:lstStyle/>
                  <a:p>
                    <a:r>
                      <a:t>4.17</a:t>
                    </a:r>
                  </a:p>
                </c:rich>
              </c:tx>
              <c:showLegendKey val="0"/>
              <c:showVal val="1"/>
              <c:showCatName val="0"/>
              <c:showSerName val="0"/>
              <c:showPercent val="0"/>
              <c:showBubbleSize val="0"/>
            </c:dLbl>
            <c:dLbl>
              <c:idx val="5"/>
              <c:tx>
                <c:rich>
                  <a:bodyPr/>
                  <a:lstStyle/>
                  <a:p>
                    <a:r>
                      <a:t>6.05</a:t>
                    </a:r>
                  </a:p>
                </c:rich>
              </c:tx>
              <c:showLegendKey val="0"/>
              <c:showVal val="1"/>
              <c:showCatName val="0"/>
              <c:showSerName val="0"/>
              <c:showPercent val="0"/>
              <c:showBubbleSize val="0"/>
            </c:dLbl>
            <c:dLbl>
              <c:idx val="6"/>
              <c:tx>
                <c:rich>
                  <a:bodyPr/>
                  <a:lstStyle/>
                  <a:p>
                    <a:r>
                      <a:t>5.22</a:t>
                    </a:r>
                  </a:p>
                </c:rich>
              </c:tx>
              <c:showLegendKey val="0"/>
              <c:showVal val="1"/>
              <c:showCatName val="0"/>
              <c:showSerName val="0"/>
              <c:showPercent val="0"/>
              <c:showBubbleSize val="0"/>
            </c:dLbl>
            <c:dLbl>
              <c:idx val="7"/>
              <c:tx>
                <c:rich>
                  <a:bodyPr/>
                  <a:lstStyle/>
                  <a:p>
                    <a:r>
                      <a:t>6.74</a:t>
                    </a:r>
                  </a:p>
                </c:rich>
              </c:tx>
              <c:showLegendKey val="0"/>
              <c:showVal val="1"/>
              <c:showCatName val="0"/>
              <c:showSerName val="0"/>
              <c:showPercent val="0"/>
              <c:showBubbleSize val="0"/>
            </c:dLbl>
            <c:dLbl>
              <c:idx val="8"/>
              <c:tx>
                <c:rich>
                  <a:bodyPr/>
                  <a:lstStyle/>
                  <a:p>
                    <a:r>
                      <a:t>6.74</a:t>
                    </a:r>
                  </a:p>
                </c:rich>
              </c:tx>
              <c:showLegendKey val="0"/>
              <c:showVal val="1"/>
              <c:showCatName val="0"/>
              <c:showSerName val="0"/>
              <c:showPercent val="0"/>
              <c:showBubbleSize val="0"/>
            </c:dLbl>
            <c:dLbl>
              <c:idx val="9"/>
              <c:tx>
                <c:rich>
                  <a:bodyPr/>
                  <a:lstStyle/>
                  <a:p>
                    <a:r>
                      <a:t>10.97</a:t>
                    </a:r>
                  </a:p>
                </c:rich>
              </c:tx>
              <c:showLegendKey val="0"/>
              <c:showVal val="1"/>
              <c:showCatName val="0"/>
              <c:showSerName val="0"/>
              <c:showPercent val="0"/>
              <c:showBubbleSize val="0"/>
            </c:dLbl>
            <c:dLbl>
              <c:idx val="10"/>
              <c:tx>
                <c:rich>
                  <a:bodyPr/>
                  <a:lstStyle/>
                  <a:p>
                    <a:r>
                      <a:t>10.97</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EFILL NORMAL 4CT</c:v>
                </c:pt>
                <c:pt idx="1">
                  <c:v>CREMO 5 BLADE RAZOR NORMAL 2CT</c:v>
                </c:pt>
                <c:pt idx="2">
                  <c:v>BIC 3 SENSITIVE 3 BLADE DISPOSABLE NORMAL 12CT</c:v>
                </c:pt>
                <c:pt idx="3">
                  <c:v>BIC COMFORT 3 MULTI COLOR 3 BLADE DISPOSABLE SENSITIVE 4CT</c:v>
                </c:pt>
                <c:pt idx="4">
                  <c:v>BIC EASYRINSE 4 BLADE HYBRID NORMAL 3CT</c:v>
                </c:pt>
                <c:pt idx="5">
                  <c:v>BIC FLEX 3 3 BLADE DISPOSABLE NORMAL 2CT</c:v>
                </c:pt>
                <c:pt idx="6">
                  <c:v>BIC FLEX 4 4 BLADE DISPOSABLE SENSITIVE 3CT</c:v>
                </c:pt>
                <c:pt idx="7">
                  <c:v>BIC FLEX 4 4 BLADE HYBRID NORMAL 4CT</c:v>
                </c:pt>
                <c:pt idx="8">
                  <c:v>BIC FLEX 4 4 BLADE HYBRID SENSITIVE 10CT</c:v>
                </c:pt>
                <c:pt idx="9">
                  <c:v>BIC FLEX 5 5 BLADE HYBRID SENSITIVE 8CT</c:v>
                </c:pt>
                <c:pt idx="10">
                  <c:v>BIC FLEX 5 BLACK WHITE 5 BLADE DISPOSABLE NORMAL 2CT</c:v>
                </c:pt>
                <c:pt idx="11">
                  <c:v>BIC FLEX 5 BLACK WHITE 5 BLADE DISPOSABLE SENSITIVE 2CT</c:v>
                </c:pt>
                <c:pt idx="12">
                  <c:v>BIC FLEX 5 BLACK WHITE 5 BLADE HYBRID SENSITIVE 3CT</c:v>
                </c:pt>
                <c:pt idx="13">
                  <c:v>BIC FLEX 5 HYBRID 5 BLADE HYBRID NORMAL 12CT</c:v>
                </c:pt>
              </c:strCache>
            </c:strRef>
          </c:cat>
          <c:val>
            <c:numRef>
              <c:f>Sheet1!$B$2:$B$16</c:f>
              <c:numCache>
                <c:formatCode>General</c:formatCode>
                <c:ptCount val="15"/>
                <c:pt idx="0">
                  <c:v>14.13</c:v>
                </c:pt>
                <c:pt idx="1">
                  <c:v>14.97</c:v>
                </c:pt>
                <c:pt idx="2">
                  <c:v>11.99</c:v>
                </c:pt>
                <c:pt idx="3">
                  <c:v>11.29</c:v>
                </c:pt>
                <c:pt idx="4">
                  <c:v>4.17</c:v>
                </c:pt>
                <c:pt idx="5">
                  <c:v>6.05</c:v>
                </c:pt>
                <c:pt idx="6">
                  <c:v>5.22</c:v>
                </c:pt>
                <c:pt idx="7">
                  <c:v>6.74</c:v>
                </c:pt>
                <c:pt idx="8">
                  <c:v>6.74</c:v>
                </c:pt>
                <c:pt idx="9">
                  <c:v>10.97</c:v>
                </c:pt>
                <c:pt idx="10">
                  <c:v>10.97</c:v>
                </c:pt>
                <c:pt idx="11">
                  <c:v>7.27</c:v>
                </c:pt>
                <c:pt idx="12">
                  <c:v>7.27</c:v>
                </c:pt>
                <c:pt idx="13">
                  <c:v>7.27</c:v>
                </c:pt>
                <c:pt idx="14">
                  <c:v>2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27.75</a:t>
                    </a:r>
                  </a:p>
                </c:rich>
              </c:tx>
              <c:showLegendKey val="0"/>
              <c:showVal val="1"/>
              <c:showCatName val="0"/>
              <c:showSerName val="0"/>
              <c:showPercent val="0"/>
              <c:showBubbleSize val="0"/>
            </c:dLbl>
            <c:dLbl>
              <c:idx val="5"/>
              <c:tx>
                <c:rich>
                  <a:bodyPr/>
                  <a:lstStyle/>
                  <a:p>
                    <a:r>
                      <a:t>6.05</a:t>
                    </a:r>
                  </a:p>
                </c:rich>
              </c:tx>
              <c:showLegendKey val="0"/>
              <c:showVal val="1"/>
              <c:showCatName val="0"/>
              <c:showSerName val="0"/>
              <c:showPercent val="0"/>
              <c:showBubbleSize val="0"/>
            </c:dLbl>
            <c:dLbl>
              <c:idx val="6"/>
              <c:tx>
                <c:rich>
                  <a:bodyPr/>
                  <a:lstStyle/>
                  <a:p>
                    <a:r>
                      <a:t>6.74</a:t>
                    </a:r>
                  </a:p>
                </c:rich>
              </c:tx>
              <c:showLegendKey val="0"/>
              <c:showVal val="1"/>
              <c:showCatName val="0"/>
              <c:showSerName val="0"/>
              <c:showPercent val="0"/>
              <c:showBubbleSize val="0"/>
            </c:dLbl>
            <c:dLbl>
              <c:idx val="7"/>
              <c:tx>
                <c:rich>
                  <a:bodyPr/>
                  <a:lstStyle/>
                  <a:p>
                    <a:r>
                      <a:t>10.97</a:t>
                    </a:r>
                  </a:p>
                </c:rich>
              </c:tx>
              <c:showLegendKey val="0"/>
              <c:showVal val="1"/>
              <c:showCatName val="0"/>
              <c:showSerName val="0"/>
              <c:showPercent val="0"/>
              <c:showBubbleSize val="0"/>
            </c:dLbl>
            <c:dLbl>
              <c:idx val="8"/>
              <c:tx>
                <c:rich>
                  <a:bodyPr/>
                  <a:lstStyle/>
                  <a:p>
                    <a:r>
                      <a:t>10.97</a:t>
                    </a:r>
                  </a:p>
                </c:rich>
              </c:tx>
              <c:showLegendKey val="0"/>
              <c:showVal val="1"/>
              <c:showCatName val="0"/>
              <c:showSerName val="0"/>
              <c:showPercent val="0"/>
              <c:showBubbleSize val="0"/>
            </c:dLbl>
            <c:dLbl>
              <c:idx val="9"/>
              <c:tx>
                <c:rich>
                  <a:bodyPr/>
                  <a:lstStyle/>
                  <a:p>
                    <a:r>
                      <a:t>7.27</a:t>
                    </a:r>
                  </a:p>
                </c:rich>
              </c:tx>
              <c:showLegendKey val="0"/>
              <c:showVal val="1"/>
              <c:showCatName val="0"/>
              <c:showSerName val="0"/>
              <c:showPercent val="0"/>
              <c:showBubbleSize val="0"/>
            </c:dLbl>
            <c:dLbl>
              <c:idx val="10"/>
              <c:tx>
                <c:rich>
                  <a:bodyPr/>
                  <a:lstStyle/>
                  <a:p>
                    <a:r>
                      <a:t>20.92</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10.97</a:t>
                    </a:r>
                  </a:p>
                </c:rich>
              </c:tx>
              <c:showLegendKey val="0"/>
              <c:showVal val="1"/>
              <c:showCatName val="0"/>
              <c:showSerName val="0"/>
              <c:showPercent val="0"/>
              <c:showBubbleSize val="0"/>
            </c:dLbl>
            <c:dLbl>
              <c:idx val="13"/>
              <c:tx>
                <c:rich>
                  <a:bodyPr/>
                  <a:lstStyle/>
                  <a:p>
                    <a:r>
                      <a:t>24.97</a:t>
                    </a:r>
                  </a:p>
                </c:rich>
              </c:tx>
              <c:showLegendKey val="0"/>
              <c:showVal val="1"/>
              <c:showCatName val="0"/>
              <c:showSerName val="0"/>
              <c:showPercent val="0"/>
              <c:showBubbleSize val="0"/>
            </c:dLbl>
            <c:dLbl>
              <c:idx val="14"/>
              <c:tx>
                <c:rich>
                  <a:bodyPr/>
                  <a:lstStyle/>
                  <a:p>
                    <a:r>
                      <a:t>12.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DRY SKIN 5 BLADE RAZOR DRY 17CT</c:v>
                </c:pt>
                <c:pt idx="5">
                  <c:v>BIC EASYRINSE 4 BLADE HYBRID NORMAL 3CT</c:v>
                </c:pt>
                <c:pt idx="6">
                  <c:v>BIC FLEX 4 4 BLADE HYBRID NORMAL 4CT</c:v>
                </c:pt>
                <c:pt idx="7">
                  <c:v>BIC FLEX 4 4 BLADE HYBRID SENSITIVE 10CT</c:v>
                </c:pt>
                <c:pt idx="8">
                  <c:v>BIC FLEX 5 5 BLADE HYBRID SENSITIVE 8CT</c:v>
                </c:pt>
                <c:pt idx="9">
                  <c:v>BIC FLEX 5 BLACK WHITE 5 BLADE HYBRID SENSITIVE 3CT</c:v>
                </c:pt>
                <c:pt idx="10">
                  <c:v>BIC FLEX 5 HYBRID 5 BLADE HYBRID NORMAL 12CT</c:v>
                </c:pt>
                <c:pt idx="11">
                  <c:v>BIC FLEX 5 HYBRID 5 BLADE HYBRID NORMAL 4CT</c:v>
                </c:pt>
                <c:pt idx="12">
                  <c:v>BIC FLEX 5 HYBRID 5 BLADE HYBRID NORMAL 8CT</c:v>
                </c:pt>
                <c:pt idx="13">
                  <c:v>GILLETTE (ATRA &amp; TRAC) 2 BLADE REFILL NORMAL 10CT</c:v>
                </c:pt>
                <c:pt idx="14">
                  <c:v>GILLETTE FUSION 5 5 BLADE RAZOR NORMAL 1CT</c:v>
                </c:pt>
              </c:strCache>
            </c:strRef>
          </c:cat>
          <c:val>
            <c:numRef>
              <c:f>Sheet1!$B$2:$B$16</c:f>
              <c:numCache>
                <c:formatCode>General</c:formatCode>
                <c:ptCount val="15"/>
                <c:pt idx="0">
                  <c:v>14.97</c:v>
                </c:pt>
                <c:pt idx="1">
                  <c:v>9.97</c:v>
                </c:pt>
                <c:pt idx="2">
                  <c:v>26.97</c:v>
                </c:pt>
                <c:pt idx="3">
                  <c:v>9.99</c:v>
                </c:pt>
                <c:pt idx="4">
                  <c:v>27.75</c:v>
                </c:pt>
                <c:pt idx="5">
                  <c:v>6.05</c:v>
                </c:pt>
                <c:pt idx="6">
                  <c:v>6.74</c:v>
                </c:pt>
                <c:pt idx="7">
                  <c:v>10.97</c:v>
                </c:pt>
                <c:pt idx="8">
                  <c:v>10.97</c:v>
                </c:pt>
                <c:pt idx="9">
                  <c:v>7.27</c:v>
                </c:pt>
                <c:pt idx="10">
                  <c:v>20.92</c:v>
                </c:pt>
                <c:pt idx="11">
                  <c:v>7.27</c:v>
                </c:pt>
                <c:pt idx="12">
                  <c:v>10.97</c:v>
                </c:pt>
                <c:pt idx="13">
                  <c:v>24.97</c:v>
                </c:pt>
                <c:pt idx="14">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6.05</a:t>
                    </a:r>
                  </a:p>
                </c:rich>
              </c:tx>
              <c:showLegendKey val="0"/>
              <c:showVal val="1"/>
              <c:showCatName val="0"/>
              <c:showSerName val="0"/>
              <c:showPercent val="0"/>
              <c:showBubbleSize val="0"/>
            </c:dLbl>
            <c:dLbl>
              <c:idx val="3"/>
              <c:tx>
                <c:rich>
                  <a:bodyPr/>
                  <a:lstStyle/>
                  <a:p>
                    <a:r>
                      <a:t>6.74</a:t>
                    </a:r>
                  </a:p>
                </c:rich>
              </c:tx>
              <c:showLegendKey val="0"/>
              <c:showVal val="1"/>
              <c:showCatName val="0"/>
              <c:showSerName val="0"/>
              <c:showPercent val="0"/>
              <c:showBubbleSize val="0"/>
            </c:dLbl>
            <c:dLbl>
              <c:idx val="4"/>
              <c:tx>
                <c:rich>
                  <a:bodyPr/>
                  <a:lstStyle/>
                  <a:p>
                    <a:r>
                      <a:t>10.97</a:t>
                    </a:r>
                  </a:p>
                </c:rich>
              </c:tx>
              <c:showLegendKey val="0"/>
              <c:showVal val="1"/>
              <c:showCatName val="0"/>
              <c:showSerName val="0"/>
              <c:showPercent val="0"/>
              <c:showBubbleSize val="0"/>
            </c:dLbl>
            <c:dLbl>
              <c:idx val="5"/>
              <c:tx>
                <c:rich>
                  <a:bodyPr/>
                  <a:lstStyle/>
                  <a:p>
                    <a:r>
                      <a:t>10.97</a:t>
                    </a:r>
                  </a:p>
                </c:rich>
              </c:tx>
              <c:showLegendKey val="0"/>
              <c:showVal val="1"/>
              <c:showCatName val="0"/>
              <c:showSerName val="0"/>
              <c:showPercent val="0"/>
              <c:showBubbleSize val="0"/>
            </c:dLbl>
            <c:dLbl>
              <c:idx val="6"/>
              <c:tx>
                <c:rich>
                  <a:bodyPr/>
                  <a:lstStyle/>
                  <a:p>
                    <a:r>
                      <a:t>7.27</a:t>
                    </a:r>
                  </a:p>
                </c:rich>
              </c:tx>
              <c:showLegendKey val="0"/>
              <c:showVal val="1"/>
              <c:showCatName val="0"/>
              <c:showSerName val="0"/>
              <c:showPercent val="0"/>
              <c:showBubbleSize val="0"/>
            </c:dLbl>
            <c:dLbl>
              <c:idx val="7"/>
              <c:tx>
                <c:rich>
                  <a:bodyPr/>
                  <a:lstStyle/>
                  <a:p>
                    <a:r>
                      <a:t>20.92</a:t>
                    </a:r>
                  </a:p>
                </c:rich>
              </c:tx>
              <c:showLegendKey val="0"/>
              <c:showVal val="1"/>
              <c:showCatName val="0"/>
              <c:showSerName val="0"/>
              <c:showPercent val="0"/>
              <c:showBubbleSize val="0"/>
            </c:dLbl>
            <c:dLbl>
              <c:idx val="8"/>
              <c:tx>
                <c:rich>
                  <a:bodyPr/>
                  <a:lstStyle/>
                  <a:p>
                    <a:r>
                      <a:t>7.27</a:t>
                    </a:r>
                  </a:p>
                </c:rich>
              </c:tx>
              <c:showLegendKey val="0"/>
              <c:showVal val="1"/>
              <c:showCatName val="0"/>
              <c:showSerName val="0"/>
              <c:showPercent val="0"/>
              <c:showBubbleSize val="0"/>
            </c:dLbl>
            <c:dLbl>
              <c:idx val="9"/>
              <c:tx>
                <c:rich>
                  <a:bodyPr/>
                  <a:lstStyle/>
                  <a:p>
                    <a:r>
                      <a:t>10.97</a:t>
                    </a:r>
                  </a:p>
                </c:rich>
              </c:tx>
              <c:showLegendKey val="0"/>
              <c:showVal val="1"/>
              <c:showCatName val="0"/>
              <c:showSerName val="0"/>
              <c:showPercent val="0"/>
              <c:showBubbleSize val="0"/>
            </c:dLbl>
            <c:dLbl>
              <c:idx val="10"/>
              <c:tx>
                <c:rich>
                  <a:bodyPr/>
                  <a:lstStyle/>
                  <a:p>
                    <a:r>
                      <a:t>24.97</a:t>
                    </a:r>
                  </a:p>
                </c:rich>
              </c:tx>
              <c:showLegendKey val="0"/>
              <c:showVal val="1"/>
              <c:showCatName val="0"/>
              <c:showSerName val="0"/>
              <c:showPercent val="0"/>
              <c:showBubbleSize val="0"/>
            </c:dLbl>
            <c:dLbl>
              <c:idx val="11"/>
              <c:tx>
                <c:rich>
                  <a:bodyPr/>
                  <a:lstStyle/>
                  <a:p>
                    <a:r>
                      <a:t>12.25</a:t>
                    </a:r>
                  </a:p>
                </c:rich>
              </c:tx>
              <c:showLegendKey val="0"/>
              <c:showVal val="1"/>
              <c:showCatName val="0"/>
              <c:showSerName val="0"/>
              <c:showPercent val="0"/>
              <c:showBubbleSize val="0"/>
            </c:dLbl>
            <c:dLbl>
              <c:idx val="12"/>
              <c:tx>
                <c:rich>
                  <a:bodyPr/>
                  <a:lstStyle/>
                  <a:p>
                    <a:r>
                      <a:t>13.97</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3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AZOR NORMAL 2CT</c:v>
                </c:pt>
                <c:pt idx="1">
                  <c:v>EQUATE EASY FIT 5 5 BLADE REFILL NORMAL 12CT</c:v>
                </c:pt>
                <c:pt idx="2">
                  <c:v>BIC EASYRINSE 4 BLADE HYBRID NORMAL 3CT</c:v>
                </c:pt>
                <c:pt idx="3">
                  <c:v>BIC FLEX 4 4 BLADE HYBRID NORMAL 4CT</c:v>
                </c:pt>
                <c:pt idx="4">
                  <c:v>BIC FLEX 4 4 BLADE HYBRID SENSITIVE 10CT</c:v>
                </c:pt>
                <c:pt idx="5">
                  <c:v>BIC FLEX 5 5 BLADE HYBRID SENSITIVE 8CT</c:v>
                </c:pt>
                <c:pt idx="6">
                  <c:v>BIC FLEX 5 BLACK WHITE 5 BLADE HYBRID SENSITIVE 3CT</c:v>
                </c:pt>
                <c:pt idx="7">
                  <c:v>BIC FLEX 5 HYBRID 5 BLADE HYBRID NORMAL 12CT</c:v>
                </c:pt>
                <c:pt idx="8">
                  <c:v>BIC FLEX 5 HYBRID 5 BLADE HYBRID NORMAL 4CT</c:v>
                </c:pt>
                <c:pt idx="9">
                  <c:v>BIC FLEX 5 HYBRID 5 BLADE HYBRID NORMAL 8CT</c:v>
                </c:pt>
                <c:pt idx="10">
                  <c:v>GILLETTE (ATRA &amp; TRAC) 2 BLADE REFILL NORMAL 10CT</c:v>
                </c:pt>
                <c:pt idx="11">
                  <c:v>GILLETTE FUSION 5 5 BLADE RAZOR NORMAL 1CT</c:v>
                </c:pt>
                <c:pt idx="12">
                  <c:v>GILLETTE FUSION 5 5 BLADE RAZOR NORMAL 2CT</c:v>
                </c:pt>
                <c:pt idx="13">
                  <c:v>GILLETTE FUSION 5 5 BLADE RAZOR NORMAL 7CT</c:v>
                </c:pt>
                <c:pt idx="14">
                  <c:v>GILLETTE FUSION 5 5 BLADE REFILL NORMAL 12CT</c:v>
                </c:pt>
              </c:strCache>
            </c:strRef>
          </c:cat>
          <c:val>
            <c:numRef>
              <c:f>Sheet1!$B$2:$B$16</c:f>
              <c:numCache>
                <c:formatCode>General</c:formatCode>
                <c:ptCount val="15"/>
                <c:pt idx="0">
                  <c:v>7.97</c:v>
                </c:pt>
                <c:pt idx="1">
                  <c:v>14.97</c:v>
                </c:pt>
                <c:pt idx="2">
                  <c:v>6.05</c:v>
                </c:pt>
                <c:pt idx="3">
                  <c:v>6.74</c:v>
                </c:pt>
                <c:pt idx="4">
                  <c:v>10.97</c:v>
                </c:pt>
                <c:pt idx="5">
                  <c:v>10.97</c:v>
                </c:pt>
                <c:pt idx="6">
                  <c:v>7.27</c:v>
                </c:pt>
                <c:pt idx="7">
                  <c:v>20.92</c:v>
                </c:pt>
                <c:pt idx="8">
                  <c:v>7.27</c:v>
                </c:pt>
                <c:pt idx="9">
                  <c:v>10.97</c:v>
                </c:pt>
                <c:pt idx="10">
                  <c:v>24.97</c:v>
                </c:pt>
                <c:pt idx="11">
                  <c:v>12.25</c:v>
                </c:pt>
                <c:pt idx="12">
                  <c:v>13.97</c:v>
                </c:pt>
                <c:pt idx="13">
                  <c:v>29.97</c:v>
                </c:pt>
                <c:pt idx="14">
                  <c:v>3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1.99</a:t>
                    </a:r>
                  </a:p>
                </c:rich>
              </c:tx>
              <c:showLegendKey val="0"/>
              <c:showVal val="1"/>
              <c:showCatName val="0"/>
              <c:showSerName val="0"/>
              <c:showPercent val="0"/>
              <c:showBubbleSize val="0"/>
            </c:dLbl>
            <c:dLbl>
              <c:idx val="3"/>
              <c:tx>
                <c:rich>
                  <a:bodyPr/>
                  <a:lstStyle/>
                  <a:p>
                    <a:r>
                      <a:t>6.05</a:t>
                    </a:r>
                  </a:p>
                </c:rich>
              </c:tx>
              <c:showLegendKey val="0"/>
              <c:showVal val="1"/>
              <c:showCatName val="0"/>
              <c:showSerName val="0"/>
              <c:showPercent val="0"/>
              <c:showBubbleSize val="0"/>
            </c:dLbl>
            <c:dLbl>
              <c:idx val="4"/>
              <c:tx>
                <c:rich>
                  <a:bodyPr/>
                  <a:lstStyle/>
                  <a:p>
                    <a:r>
                      <a:t>6.74</a:t>
                    </a:r>
                  </a:p>
                </c:rich>
              </c:tx>
              <c:showLegendKey val="0"/>
              <c:showVal val="1"/>
              <c:showCatName val="0"/>
              <c:showSerName val="0"/>
              <c:showPercent val="0"/>
              <c:showBubbleSize val="0"/>
            </c:dLbl>
            <c:dLbl>
              <c:idx val="5"/>
              <c:tx>
                <c:rich>
                  <a:bodyPr/>
                  <a:lstStyle/>
                  <a:p>
                    <a:r>
                      <a:t>10.97</a:t>
                    </a:r>
                  </a:p>
                </c:rich>
              </c:tx>
              <c:showLegendKey val="0"/>
              <c:showVal val="1"/>
              <c:showCatName val="0"/>
              <c:showSerName val="0"/>
              <c:showPercent val="0"/>
              <c:showBubbleSize val="0"/>
            </c:dLbl>
            <c:dLbl>
              <c:idx val="6"/>
              <c:tx>
                <c:rich>
                  <a:bodyPr/>
                  <a:lstStyle/>
                  <a:p>
                    <a:r>
                      <a:t>10.97</a:t>
                    </a:r>
                  </a:p>
                </c:rich>
              </c:tx>
              <c:showLegendKey val="0"/>
              <c:showVal val="1"/>
              <c:showCatName val="0"/>
              <c:showSerName val="0"/>
              <c:showPercent val="0"/>
              <c:showBubbleSize val="0"/>
            </c:dLbl>
            <c:dLbl>
              <c:idx val="7"/>
              <c:tx>
                <c:rich>
                  <a:bodyPr/>
                  <a:lstStyle/>
                  <a:p>
                    <a:r>
                      <a:t>7.27</a:t>
                    </a:r>
                  </a:p>
                </c:rich>
              </c:tx>
              <c:showLegendKey val="0"/>
              <c:showVal val="1"/>
              <c:showCatName val="0"/>
              <c:showSerName val="0"/>
              <c:showPercent val="0"/>
              <c:showBubbleSize val="0"/>
            </c:dLbl>
            <c:dLbl>
              <c:idx val="8"/>
              <c:tx>
                <c:rich>
                  <a:bodyPr/>
                  <a:lstStyle/>
                  <a:p>
                    <a:r>
                      <a:t>20.92</a:t>
                    </a:r>
                  </a:p>
                </c:rich>
              </c:tx>
              <c:showLegendKey val="0"/>
              <c:showVal val="1"/>
              <c:showCatName val="0"/>
              <c:showSerName val="0"/>
              <c:showPercent val="0"/>
              <c:showBubbleSize val="0"/>
            </c:dLbl>
            <c:dLbl>
              <c:idx val="9"/>
              <c:tx>
                <c:rich>
                  <a:bodyPr/>
                  <a:lstStyle/>
                  <a:p>
                    <a:r>
                      <a:t>7.27</a:t>
                    </a:r>
                  </a:p>
                </c:rich>
              </c:tx>
              <c:showLegendKey val="0"/>
              <c:showVal val="1"/>
              <c:showCatName val="0"/>
              <c:showSerName val="0"/>
              <c:showPercent val="0"/>
              <c:showBubbleSize val="0"/>
            </c:dLbl>
            <c:dLbl>
              <c:idx val="10"/>
              <c:tx>
                <c:rich>
                  <a:bodyPr/>
                  <a:lstStyle/>
                  <a:p>
                    <a:r>
                      <a:t>10.97</a:t>
                    </a:r>
                  </a:p>
                </c:rich>
              </c:tx>
              <c:showLegendKey val="0"/>
              <c:showVal val="1"/>
              <c:showCatName val="0"/>
              <c:showSerName val="0"/>
              <c:showPercent val="0"/>
              <c:showBubbleSize val="0"/>
            </c:dLbl>
            <c:dLbl>
              <c:idx val="11"/>
              <c:tx>
                <c:rich>
                  <a:bodyPr/>
                  <a:lstStyle/>
                  <a:p>
                    <a:r>
                      <a:t>24.97</a:t>
                    </a:r>
                  </a:p>
                </c:rich>
              </c:tx>
              <c:showLegendKey val="0"/>
              <c:showVal val="1"/>
              <c:showCatName val="0"/>
              <c:showSerName val="0"/>
              <c:showPercent val="0"/>
              <c:showBubbleSize val="0"/>
            </c:dLbl>
            <c:dLbl>
              <c:idx val="12"/>
              <c:tx>
                <c:rich>
                  <a:bodyPr/>
                  <a:lstStyle/>
                  <a:p>
                    <a:r>
                      <a:t>12.25</a:t>
                    </a:r>
                  </a:p>
                </c:rich>
              </c:tx>
              <c:showLegendKey val="0"/>
              <c:showVal val="1"/>
              <c:showCatName val="0"/>
              <c:showSerName val="0"/>
              <c:showPercent val="0"/>
              <c:showBubbleSize val="0"/>
            </c:dLbl>
            <c:dLbl>
              <c:idx val="13"/>
              <c:tx>
                <c:rich>
                  <a:bodyPr/>
                  <a:lstStyle/>
                  <a:p>
                    <a:r>
                      <a:t>1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EFILL NORMAL 4CT</c:v>
                </c:pt>
                <c:pt idx="1">
                  <c:v>CREMO 5 BLADE RAZOR NORMAL 2CT</c:v>
                </c:pt>
                <c:pt idx="2">
                  <c:v>BIC EASYRINSE 4 BLADE HYBRID NORMAL 3CT</c:v>
                </c:pt>
                <c:pt idx="3">
                  <c:v>BIC FLEX 4 4 BLADE HYBRID NORMAL 4CT</c:v>
                </c:pt>
                <c:pt idx="4">
                  <c:v>BIC FLEX 4 4 BLADE HYBRID SENSITIVE 10CT</c:v>
                </c:pt>
                <c:pt idx="5">
                  <c:v>BIC FLEX 5 5 BLADE HYBRID SENSITIVE 8CT</c:v>
                </c:pt>
                <c:pt idx="6">
                  <c:v>BIC FLEX 5 BLACK WHITE 5 BLADE HYBRID SENSITIVE 3CT</c:v>
                </c:pt>
                <c:pt idx="7">
                  <c:v>BIC FLEX 5 HYBRID 5 BLADE HYBRID NORMAL 12CT</c:v>
                </c:pt>
                <c:pt idx="8">
                  <c:v>BIC FLEX 5 HYBRID 5 BLADE HYBRID NORMAL 4CT</c:v>
                </c:pt>
                <c:pt idx="9">
                  <c:v>BIC FLEX 5 HYBRID 5 BLADE HYBRID NORMAL 8CT</c:v>
                </c:pt>
                <c:pt idx="10">
                  <c:v>GILLETTE (ATRA &amp; TRAC) 2 BLADE REFILL NORMAL 10CT</c:v>
                </c:pt>
                <c:pt idx="11">
                  <c:v>GILLETTE FUSION 5 5 BLADE RAZOR NORMAL 1CT</c:v>
                </c:pt>
                <c:pt idx="12">
                  <c:v>GILLETTE FUSION 5 5 BLADE RAZOR NORMAL 2CT</c:v>
                </c:pt>
                <c:pt idx="13">
                  <c:v>GILLETTE FUSION 5 5 BLADE RAZOR NORMAL 7CT</c:v>
                </c:pt>
              </c:strCache>
            </c:strRef>
          </c:cat>
          <c:val>
            <c:numRef>
              <c:f>Sheet1!$B$2:$B$16</c:f>
              <c:numCache>
                <c:formatCode>General</c:formatCode>
                <c:ptCount val="15"/>
                <c:pt idx="0">
                  <c:v>14.13</c:v>
                </c:pt>
                <c:pt idx="1">
                  <c:v>14.97</c:v>
                </c:pt>
                <c:pt idx="2">
                  <c:v>11.99</c:v>
                </c:pt>
                <c:pt idx="3">
                  <c:v>6.05</c:v>
                </c:pt>
                <c:pt idx="4">
                  <c:v>6.74</c:v>
                </c:pt>
                <c:pt idx="5">
                  <c:v>10.97</c:v>
                </c:pt>
                <c:pt idx="6">
                  <c:v>10.97</c:v>
                </c:pt>
                <c:pt idx="7">
                  <c:v>7.27</c:v>
                </c:pt>
                <c:pt idx="8">
                  <c:v>20.92</c:v>
                </c:pt>
                <c:pt idx="9">
                  <c:v>7.27</c:v>
                </c:pt>
                <c:pt idx="10">
                  <c:v>10.97</c:v>
                </c:pt>
                <c:pt idx="11">
                  <c:v>24.97</c:v>
                </c:pt>
                <c:pt idx="12">
                  <c:v>12.25</c:v>
                </c:pt>
                <c:pt idx="13">
                  <c:v>13.97</c:v>
                </c:pt>
                <c:pt idx="14">
                  <c:v>2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5.72</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11.52</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5.22</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SCHICK XTREME 3 3 BLADE DISPOSABLE SENSITIVE 6CT</c:v>
                </c:pt>
                <c:pt idx="8">
                  <c:v>BIC 3 SENSITIVE 3 BLADE DISPOSABLE NORMAL 12CT</c:v>
                </c:pt>
                <c:pt idx="9">
                  <c:v>BIC COMFORT 3 MULTI COLOR 3 BLADE DISPOSABLE SENSITIVE 4CT</c:v>
                </c:pt>
                <c:pt idx="10">
                  <c:v>BIC FLEX 3 3 BLADE DISPOSABLE NORMAL 2CT</c:v>
                </c:pt>
                <c:pt idx="11">
                  <c:v>BIC FLEX 4 4 BLADE DISPOSABLE SENSITIVE 3CT</c:v>
                </c:pt>
                <c:pt idx="12">
                  <c:v>BIC FLEX 5 BLACK WHITE 5 BLADE DISPOSABLE NORMAL 2CT</c:v>
                </c:pt>
                <c:pt idx="13">
                  <c:v>BIC FLEX 5 BLACK WHITE 5 BLADE DISPOSABLE SENSITIVE 2CT</c:v>
                </c:pt>
                <c:pt idx="14">
                  <c:v>BIC SENSITIVE 2 2 BLADE DISPOSABLE NORMAL 10CT</c:v>
                </c:pt>
              </c:strCache>
            </c:strRef>
          </c:cat>
          <c:val>
            <c:numRef>
              <c:f>Sheet1!$B$2:$B$16</c:f>
              <c:numCache>
                <c:formatCode>General</c:formatCode>
                <c:ptCount val="15"/>
                <c:pt idx="0">
                  <c:v>6.78</c:v>
                </c:pt>
                <c:pt idx="1">
                  <c:v>6.78</c:v>
                </c:pt>
                <c:pt idx="2">
                  <c:v>11.52</c:v>
                </c:pt>
                <c:pt idx="3">
                  <c:v>15.72</c:v>
                </c:pt>
                <c:pt idx="4">
                  <c:v>6.78</c:v>
                </c:pt>
                <c:pt idx="5">
                  <c:v>11.52</c:v>
                </c:pt>
                <c:pt idx="6">
                  <c:v>15.72</c:v>
                </c:pt>
                <c:pt idx="7">
                  <c:v>6.78</c:v>
                </c:pt>
                <c:pt idx="8">
                  <c:v>11.29</c:v>
                </c:pt>
                <c:pt idx="9">
                  <c:v>4.17</c:v>
                </c:pt>
                <c:pt idx="10">
                  <c:v>5.22</c:v>
                </c:pt>
                <c:pt idx="11">
                  <c:v>6.74</c:v>
                </c:pt>
                <c:pt idx="12">
                  <c:v>7.27</c:v>
                </c:pt>
                <c:pt idx="13">
                  <c:v>7.27</c:v>
                </c:pt>
                <c:pt idx="14">
                  <c:v>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5.74</a:t>
                    </a:r>
                  </a:p>
                </c:rich>
              </c:tx>
              <c:showLegendKey val="0"/>
              <c:showVal val="1"/>
              <c:showCatName val="0"/>
              <c:showSerName val="0"/>
              <c:showPercent val="0"/>
              <c:showBubbleSize val="0"/>
            </c:dLbl>
            <c:dLbl>
              <c:idx val="2"/>
              <c:tx>
                <c:rich>
                  <a:bodyPr/>
                  <a:lstStyle/>
                  <a:p>
                    <a:r>
                      <a:t>4.16</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8</a:t>
                    </a:r>
                  </a:p>
                </c:rich>
              </c:tx>
              <c:showLegendKey val="0"/>
              <c:showVal val="1"/>
              <c:showCatName val="0"/>
              <c:showSerName val="0"/>
              <c:showPercent val="0"/>
              <c:showBubbleSize val="0"/>
            </c:dLbl>
            <c:dLbl>
              <c:idx val="5"/>
              <c:tx>
                <c:rich>
                  <a:bodyPr/>
                  <a:lstStyle/>
                  <a:p>
                    <a:r>
                      <a:t>1.06</a:t>
                    </a:r>
                  </a:p>
                </c:rich>
              </c:tx>
              <c:showLegendKey val="0"/>
              <c:showVal val="1"/>
              <c:showCatName val="0"/>
              <c:showSerName val="0"/>
              <c:showPercent val="0"/>
              <c:showBubbleSize val="0"/>
            </c:dLbl>
            <c:dLbl>
              <c:idx val="6"/>
              <c:tx>
                <c:rich>
                  <a:bodyPr/>
                  <a:lstStyle/>
                  <a:p>
                    <a:r>
                      <a:t>11.29</a:t>
                    </a:r>
                  </a:p>
                </c:rich>
              </c:tx>
              <c:showLegendKey val="0"/>
              <c:showVal val="1"/>
              <c:showCatName val="0"/>
              <c:showSerName val="0"/>
              <c:showPercent val="0"/>
              <c:showBubbleSize val="0"/>
            </c:dLbl>
            <c:dLbl>
              <c:idx val="7"/>
              <c:tx>
                <c:rich>
                  <a:bodyPr/>
                  <a:lstStyle/>
                  <a:p>
                    <a:r>
                      <a:t>4.17</a:t>
                    </a:r>
                  </a:p>
                </c:rich>
              </c:tx>
              <c:showLegendKey val="0"/>
              <c:showVal val="1"/>
              <c:showCatName val="0"/>
              <c:showSerName val="0"/>
              <c:showPercent val="0"/>
              <c:showBubbleSize val="0"/>
            </c:dLbl>
            <c:dLbl>
              <c:idx val="8"/>
              <c:tx>
                <c:rich>
                  <a:bodyPr/>
                  <a:lstStyle/>
                  <a:p>
                    <a:r>
                      <a:t>5.22</a:t>
                    </a:r>
                  </a:p>
                </c:rich>
              </c:tx>
              <c:showLegendKey val="0"/>
              <c:showVal val="1"/>
              <c:showCatName val="0"/>
              <c:showSerName val="0"/>
              <c:showPercent val="0"/>
              <c:showBubbleSize val="0"/>
            </c:dLbl>
            <c:dLbl>
              <c:idx val="9"/>
              <c:tx>
                <c:rich>
                  <a:bodyPr/>
                  <a:lstStyle/>
                  <a:p>
                    <a:r>
                      <a:t>6.74</a:t>
                    </a:r>
                  </a:p>
                </c:rich>
              </c:tx>
              <c:showLegendKey val="0"/>
              <c:showVal val="1"/>
              <c:showCatName val="0"/>
              <c:showSerName val="0"/>
              <c:showPercent val="0"/>
              <c:showBubbleSize val="0"/>
            </c:dLbl>
            <c:dLbl>
              <c:idx val="10"/>
              <c:tx>
                <c:rich>
                  <a:bodyPr/>
                  <a:lstStyle/>
                  <a:p>
                    <a:r>
                      <a:t>7.27</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9.59</a:t>
                    </a:r>
                  </a:p>
                </c:rich>
              </c:tx>
              <c:showLegendKey val="0"/>
              <c:showVal val="1"/>
              <c:showCatName val="0"/>
              <c:showSerName val="0"/>
              <c:showPercent val="0"/>
              <c:showBubbleSize val="0"/>
            </c:dLbl>
            <c:dLbl>
              <c:idx val="14"/>
              <c:tx>
                <c:rich>
                  <a:bodyPr/>
                  <a:lstStyle/>
                  <a:p>
                    <a:r>
                      <a:t>5.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12CT</c:v>
                </c:pt>
                <c:pt idx="5">
                  <c:v>EQUATE TB (TWIN BLADE) BLUE 2 BLADE DISPOSABLE NORMAL 5CT</c:v>
                </c:pt>
                <c:pt idx="6">
                  <c:v>BIC 3 SENSITIVE 3 BLADE DISPOSABLE NORMAL 12CT</c:v>
                </c:pt>
                <c:pt idx="7">
                  <c:v>BIC COMFORT 3 MULTI COLOR 3 BLADE DISPOSABLE SENSITIVE 4CT</c:v>
                </c:pt>
                <c:pt idx="8">
                  <c:v>BIC FLEX 3 3 BLADE DISPOSABLE NORMAL 2CT</c:v>
                </c:pt>
                <c:pt idx="9">
                  <c:v>BIC FLEX 4 4 BLADE DISPOSABLE SENSITIVE 3CT</c:v>
                </c:pt>
                <c:pt idx="10">
                  <c:v>BIC FLEX 5 BLACK WHITE 5 BLADE DISPOSABLE NORMAL 2CT</c:v>
                </c:pt>
                <c:pt idx="11">
                  <c:v>BIC FLEX 5 BLACK WHITE 5 BLADE DISPOSABLE SENSITIVE 2CT</c:v>
                </c:pt>
                <c:pt idx="12">
                  <c:v>BIC SENSITIVE 2 2 BLADE DISPOSABLE NORMAL 10CT</c:v>
                </c:pt>
                <c:pt idx="13">
                  <c:v>BIC SENSITIVE 2 2 BLADE DISPOSABLE NORMAL 18CT</c:v>
                </c:pt>
                <c:pt idx="14">
                  <c:v>BIC SENSITIVE 2 2 BLADE DISPOSABLE NORMAL 8CT</c:v>
                </c:pt>
              </c:strCache>
            </c:strRef>
          </c:cat>
          <c:val>
            <c:numRef>
              <c:f>Sheet1!$B$2:$B$16</c:f>
              <c:numCache>
                <c:formatCode>General</c:formatCode>
                <c:ptCount val="15"/>
                <c:pt idx="0">
                  <c:v>4.34</c:v>
                </c:pt>
                <c:pt idx="1">
                  <c:v>5.74</c:v>
                </c:pt>
                <c:pt idx="2">
                  <c:v>4.16</c:v>
                </c:pt>
                <c:pt idx="3">
                  <c:v>5.98</c:v>
                </c:pt>
                <c:pt idx="4">
                  <c:v>2.08</c:v>
                </c:pt>
                <c:pt idx="5">
                  <c:v>1.06</c:v>
                </c:pt>
                <c:pt idx="6">
                  <c:v>11.29</c:v>
                </c:pt>
                <c:pt idx="7">
                  <c:v>4.17</c:v>
                </c:pt>
                <c:pt idx="8">
                  <c:v>5.22</c:v>
                </c:pt>
                <c:pt idx="9">
                  <c:v>6.74</c:v>
                </c:pt>
                <c:pt idx="10">
                  <c:v>7.27</c:v>
                </c:pt>
                <c:pt idx="11">
                  <c:v>7.27</c:v>
                </c:pt>
                <c:pt idx="12">
                  <c:v>8.34</c:v>
                </c:pt>
                <c:pt idx="13">
                  <c:v>9.59</c:v>
                </c:pt>
                <c:pt idx="14">
                  <c:v>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27.75</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2.25</a:t>
                    </a:r>
                  </a:p>
                </c:rich>
              </c:tx>
              <c:showLegendKey val="0"/>
              <c:showVal val="1"/>
              <c:showCatName val="0"/>
              <c:showSerName val="0"/>
              <c:showPercent val="0"/>
              <c:showBubbleSize val="0"/>
            </c:dLbl>
            <c:dLbl>
              <c:idx val="5"/>
              <c:tx>
                <c:rich>
                  <a:bodyPr/>
                  <a:lstStyle/>
                  <a:p>
                    <a:r>
                      <a:t>13.97</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13.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29.97</a:t>
                    </a:r>
                  </a:p>
                </c:rich>
              </c:tx>
              <c:showLegendKey val="0"/>
              <c:showVal val="1"/>
              <c:showCatName val="0"/>
              <c:showSerName val="0"/>
              <c:showPercent val="0"/>
              <c:showBubbleSize val="0"/>
            </c:dLbl>
            <c:dLbl>
              <c:idx val="10"/>
              <c:tx>
                <c:rich>
                  <a:bodyPr/>
                  <a:lstStyle/>
                  <a:p>
                    <a:r>
                      <a:t>16.97</a:t>
                    </a:r>
                  </a:p>
                </c:rich>
              </c:tx>
              <c:showLegendKey val="0"/>
              <c:showVal val="1"/>
              <c:showCatName val="0"/>
              <c:showSerName val="0"/>
              <c:showPercent val="0"/>
              <c:showBubbleSize val="0"/>
            </c:dLbl>
            <c:dLbl>
              <c:idx val="11"/>
              <c:tx>
                <c:rich>
                  <a:bodyPr/>
                  <a:lstStyle/>
                  <a:p>
                    <a:r>
                      <a:t>45.67</a:t>
                    </a:r>
                  </a:p>
                </c:rich>
              </c:tx>
              <c:showLegendKey val="0"/>
              <c:showVal val="1"/>
              <c:showCatName val="0"/>
              <c:showSerName val="0"/>
              <c:showPercent val="0"/>
              <c:showBubbleSize val="0"/>
            </c:dLbl>
            <c:dLbl>
              <c:idx val="12"/>
              <c:tx>
                <c:rich>
                  <a:bodyPr/>
                  <a:lstStyle/>
                  <a:p>
                    <a:r>
                      <a:t>13.97</a:t>
                    </a:r>
                  </a:p>
                </c:rich>
              </c:tx>
              <c:showLegendKey val="0"/>
              <c:showVal val="1"/>
              <c:showCatName val="0"/>
              <c:showSerName val="0"/>
              <c:showPercent val="0"/>
              <c:showBubbleSize val="0"/>
            </c:dLbl>
            <c:dLbl>
              <c:idx val="13"/>
              <c:tx>
                <c:rich>
                  <a:bodyPr/>
                  <a:lstStyle/>
                  <a:p>
                    <a:r>
                      <a:t>17.9</a:t>
                    </a:r>
                  </a:p>
                </c:rich>
              </c:tx>
              <c:showLegendKey val="0"/>
              <c:showVal val="1"/>
              <c:showCatName val="0"/>
              <c:showSerName val="0"/>
              <c:showPercent val="0"/>
              <c:showBubbleSize val="0"/>
            </c:dLbl>
            <c:dLbl>
              <c:idx val="14"/>
              <c:tx>
                <c:rich>
                  <a:bodyPr/>
                  <a:lstStyle/>
                  <a:p>
                    <a:r>
                      <a:t>17.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SCHICK HYDRO 3 SENSITIVE 3 BLADE RAZOR SENSITIVE 4CT</c:v>
                </c:pt>
                <c:pt idx="2">
                  <c:v>HYDRO 5 DRY SKIN 5 BLADE RAZOR DRY 17CT</c:v>
                </c:pt>
                <c:pt idx="3">
                  <c:v>DOLLAR SHAVE CLUB BLACK 6 BLADE RAZOR NORMAL 2CT</c:v>
                </c:pt>
                <c:pt idx="4">
                  <c:v>GILLETTE FUSION 5 5 BLADE RAZOR NORMAL 1CT</c:v>
                </c:pt>
                <c:pt idx="5">
                  <c:v>GILLETTE FUSION 5 5 BLADE RAZOR NORMAL 2CT</c:v>
                </c:pt>
                <c:pt idx="6">
                  <c:v>GILLETTE FUSION 5 5 BLADE RAZOR NORMAL 7CT</c:v>
                </c:pt>
                <c:pt idx="7">
                  <c:v>GILLETTE FUSION 5 PROGLIDE 5 BLADE RAZOR NORMAL 1CT</c:v>
                </c:pt>
                <c:pt idx="8">
                  <c:v>GILLETTE FUSION 5 PROGLIDE 5 BLADE RAZOR NORMAL 2CT</c:v>
                </c:pt>
                <c:pt idx="9">
                  <c:v>GILLETTE FUSION 5 PROGLIDE STYLER REM BLADES RAZOR 1CT</c:v>
                </c:pt>
                <c:pt idx="10">
                  <c:v>GILLETTE FUSION 5 PROSHIELD 5 BLADE RAZOR NORMAL 1CT</c:v>
                </c:pt>
                <c:pt idx="11">
                  <c:v>GILLETTE FUSION 5 PROSHIELD 5 BLADE RAZOR NORMAL 8CT</c:v>
                </c:pt>
                <c:pt idx="12">
                  <c:v>GILLETTE FUSION 5 PROSHIELD GRAY 5 BLADE RAZOR NORMAL 2CT</c:v>
                </c:pt>
                <c:pt idx="13">
                  <c:v>GILLETTE INTIMATE BLACK 5 BLADE RAZOR NORMAL 2CT</c:v>
                </c:pt>
                <c:pt idx="14">
                  <c:v>GILLETTE LABS 5 BLADE RAZOR NORMAL 1CT</c:v>
                </c:pt>
              </c:strCache>
            </c:strRef>
          </c:cat>
          <c:val>
            <c:numRef>
              <c:f>Sheet1!$B$2:$B$16</c:f>
              <c:numCache>
                <c:formatCode>General</c:formatCode>
                <c:ptCount val="15"/>
                <c:pt idx="0">
                  <c:v>9.97</c:v>
                </c:pt>
                <c:pt idx="1">
                  <c:v>9.99</c:v>
                </c:pt>
                <c:pt idx="2">
                  <c:v>27.75</c:v>
                </c:pt>
                <c:pt idx="3">
                  <c:v>8.97</c:v>
                </c:pt>
                <c:pt idx="4">
                  <c:v>12.25</c:v>
                </c:pt>
                <c:pt idx="5">
                  <c:v>13.97</c:v>
                </c:pt>
                <c:pt idx="6">
                  <c:v>29.97</c:v>
                </c:pt>
                <c:pt idx="7">
                  <c:v>13.97</c:v>
                </c:pt>
                <c:pt idx="8">
                  <c:v>16.97</c:v>
                </c:pt>
                <c:pt idx="9">
                  <c:v>29.97</c:v>
                </c:pt>
                <c:pt idx="10">
                  <c:v>16.97</c:v>
                </c:pt>
                <c:pt idx="11">
                  <c:v>45.67</c:v>
                </c:pt>
                <c:pt idx="12">
                  <c:v>13.97</c:v>
                </c:pt>
                <c:pt idx="13">
                  <c:v>17.9</c:v>
                </c:pt>
                <c:pt idx="14">
                  <c:v>17.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2.25</a:t>
                    </a:r>
                  </a:p>
                </c:rich>
              </c:tx>
              <c:showLegendKey val="0"/>
              <c:showVal val="1"/>
              <c:showCatName val="0"/>
              <c:showSerName val="0"/>
              <c:showPercent val="0"/>
              <c:showBubbleSize val="0"/>
            </c:dLbl>
            <c:dLbl>
              <c:idx val="3"/>
              <c:tx>
                <c:rich>
                  <a:bodyPr/>
                  <a:lstStyle/>
                  <a:p>
                    <a:r>
                      <a:t>13.97</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13.97</a:t>
                    </a:r>
                  </a:p>
                </c:rich>
              </c:tx>
              <c:showLegendKey val="0"/>
              <c:showVal val="1"/>
              <c:showCatName val="0"/>
              <c:showSerName val="0"/>
              <c:showPercent val="0"/>
              <c:showBubbleSize val="0"/>
            </c:dLbl>
            <c:dLbl>
              <c:idx val="6"/>
              <c:tx>
                <c:rich>
                  <a:bodyPr/>
                  <a:lstStyle/>
                  <a:p>
                    <a:r>
                      <a:t>16.97</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45.67</a:t>
                    </a:r>
                  </a:p>
                </c:rich>
              </c:tx>
              <c:showLegendKey val="0"/>
              <c:showVal val="1"/>
              <c:showCatName val="0"/>
              <c:showSerName val="0"/>
              <c:showPercent val="0"/>
              <c:showBubbleSize val="0"/>
            </c:dLbl>
            <c:dLbl>
              <c:idx val="10"/>
              <c:tx>
                <c:rich>
                  <a:bodyPr/>
                  <a:lstStyle/>
                  <a:p>
                    <a:r>
                      <a:t>13.97</a:t>
                    </a:r>
                  </a:p>
                </c:rich>
              </c:tx>
              <c:showLegendKey val="0"/>
              <c:showVal val="1"/>
              <c:showCatName val="0"/>
              <c:showSerName val="0"/>
              <c:showPercent val="0"/>
              <c:showBubbleSize val="0"/>
            </c:dLbl>
            <c:dLbl>
              <c:idx val="11"/>
              <c:tx>
                <c:rich>
                  <a:bodyPr/>
                  <a:lstStyle/>
                  <a:p>
                    <a:r>
                      <a:t>17.9</a:t>
                    </a:r>
                  </a:p>
                </c:rich>
              </c:tx>
              <c:showLegendKey val="0"/>
              <c:showVal val="1"/>
              <c:showCatName val="0"/>
              <c:showSerName val="0"/>
              <c:showPercent val="0"/>
              <c:showBubbleSize val="0"/>
            </c:dLbl>
            <c:dLbl>
              <c:idx val="12"/>
              <c:tx>
                <c:rich>
                  <a:bodyPr/>
                  <a:lstStyle/>
                  <a:p>
                    <a:r>
                      <a:t>17.24</a:t>
                    </a:r>
                  </a:p>
                </c:rich>
              </c:tx>
              <c:showLegendKey val="0"/>
              <c:showVal val="1"/>
              <c:showCatName val="0"/>
              <c:showSerName val="0"/>
              <c:showPercent val="0"/>
              <c:showBubbleSize val="0"/>
            </c:dLbl>
            <c:dLbl>
              <c:idx val="13"/>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AZOR NORMAL 2CT</c:v>
                </c:pt>
                <c:pt idx="1">
                  <c:v>DOLLAR SHAVE CLUB BLACK 6 BLADE RAZOR NORMAL 2CT</c:v>
                </c:pt>
                <c:pt idx="2">
                  <c:v>GILLETTE FUSION 5 5 BLADE RAZOR NORMAL 1CT</c:v>
                </c:pt>
                <c:pt idx="3">
                  <c:v>GILLETTE FUSION 5 5 BLADE RAZOR NORMAL 2CT</c:v>
                </c:pt>
                <c:pt idx="4">
                  <c:v>GILLETTE FUSION 5 5 BLADE RAZOR NORMAL 7CT</c:v>
                </c:pt>
                <c:pt idx="5">
                  <c:v>GILLETTE FUSION 5 PROGLIDE 5 BLADE RAZOR NORMAL 1CT</c:v>
                </c:pt>
                <c:pt idx="6">
                  <c:v>GILLETTE FUSION 5 PROGLIDE 5 BLADE RAZOR NORMAL 2CT</c:v>
                </c:pt>
                <c:pt idx="7">
                  <c:v>GILLETTE FUSION 5 PROGLIDE STYLER REM BLADES RAZOR 1CT</c:v>
                </c:pt>
                <c:pt idx="8">
                  <c:v>GILLETTE FUSION 5 PROSHIELD 5 BLADE RAZOR NORMAL 1CT</c:v>
                </c:pt>
                <c:pt idx="9">
                  <c:v>GILLETTE FUSION 5 PROSHIELD 5 BLADE RAZOR NORMAL 8CT</c:v>
                </c:pt>
                <c:pt idx="10">
                  <c:v>GILLETTE FUSION 5 PROSHIELD GRAY 5 BLADE RAZOR NORMAL 2CT</c:v>
                </c:pt>
                <c:pt idx="11">
                  <c:v>GILLETTE INTIMATE BLACK 5 BLADE RAZOR NORMAL 2CT</c:v>
                </c:pt>
                <c:pt idx="12">
                  <c:v>GILLETTE LABS 5 BLADE RAZOR NORMAL 1CT</c:v>
                </c:pt>
                <c:pt idx="13">
                  <c:v>GILLETTE LABS 5 BLADE RAZOR NORMAL 2CT</c:v>
                </c:pt>
              </c:strCache>
            </c:strRef>
          </c:cat>
          <c:val>
            <c:numRef>
              <c:f>Sheet1!$B$2:$B$16</c:f>
              <c:numCache>
                <c:formatCode>General</c:formatCode>
                <c:ptCount val="15"/>
                <c:pt idx="0">
                  <c:v>7.97</c:v>
                </c:pt>
                <c:pt idx="1">
                  <c:v>8.97</c:v>
                </c:pt>
                <c:pt idx="2">
                  <c:v>12.25</c:v>
                </c:pt>
                <c:pt idx="3">
                  <c:v>13.97</c:v>
                </c:pt>
                <c:pt idx="4">
                  <c:v>29.97</c:v>
                </c:pt>
                <c:pt idx="5">
                  <c:v>13.97</c:v>
                </c:pt>
                <c:pt idx="6">
                  <c:v>16.97</c:v>
                </c:pt>
                <c:pt idx="7">
                  <c:v>29.97</c:v>
                </c:pt>
                <c:pt idx="8">
                  <c:v>16.97</c:v>
                </c:pt>
                <c:pt idx="9">
                  <c:v>45.67</c:v>
                </c:pt>
                <c:pt idx="10">
                  <c:v>13.97</c:v>
                </c:pt>
                <c:pt idx="11">
                  <c:v>17.9</c:v>
                </c:pt>
                <c:pt idx="12">
                  <c:v>17.24</c:v>
                </c:pt>
                <c:pt idx="13">
                  <c:v>14.97</c:v>
                </c:pt>
                <c:pt idx="14">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11.52</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6.78</a:t>
                    </a:r>
                  </a:p>
                </c:rich>
              </c:tx>
              <c:dLblPos val="t"/>
              <c:showLegendKey val="0"/>
              <c:showVal val="1"/>
              <c:showCatName val="0"/>
              <c:showSerName val="0"/>
              <c:showPercent val="0"/>
              <c:showBubbleSize val="0"/>
            </c:dLbl>
            <c:dLbl>
              <c:idx val="5"/>
              <c:tx>
                <c:rich>
                  <a:bodyPr/>
                  <a:lstStyle/>
                  <a:p>
                    <a:r>
                      <a:t>26.97</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11.52</a:t>
                    </a:r>
                  </a:p>
                </c:rich>
              </c:tx>
              <c:dLblPos val="t"/>
              <c:showLegendKey val="0"/>
              <c:showVal val="1"/>
              <c:showCatName val="0"/>
              <c:showSerName val="0"/>
              <c:showPercent val="0"/>
              <c:showBubbleSize val="0"/>
            </c:dLbl>
            <c:dLbl>
              <c:idx val="8"/>
              <c:tx>
                <c:rich>
                  <a:bodyPr/>
                  <a:lstStyle/>
                  <a:p>
                    <a:r>
                      <a:t>6.78</a:t>
                    </a:r>
                  </a:p>
                </c:rich>
              </c:tx>
              <c:dLblPos val="t"/>
              <c:showLegendKey val="0"/>
              <c:showVal val="1"/>
              <c:showCatName val="0"/>
              <c:showSerName val="0"/>
              <c:showPercent val="0"/>
              <c:showBubbleSize val="0"/>
            </c:dLbl>
            <c:dLbl>
              <c:idx val="9"/>
              <c:tx>
                <c:rich>
                  <a:bodyPr/>
                  <a:lstStyle/>
                  <a:p>
                    <a:r>
                      <a:t>15.72</a:t>
                    </a:r>
                  </a:p>
                </c:rich>
              </c:tx>
              <c:dLblPos val="t"/>
              <c:showLegendKey val="0"/>
              <c:showVal val="1"/>
              <c:showCatName val="0"/>
              <c:showSerName val="0"/>
              <c:showPercent val="0"/>
              <c:showBubbleSize val="0"/>
            </c:dLbl>
            <c:dLbl>
              <c:idx val="10"/>
              <c:tx>
                <c:rich>
                  <a:bodyPr/>
                  <a:lstStyle/>
                  <a:p>
                    <a:r>
                      <a:t>9.99</a:t>
                    </a:r>
                  </a:p>
                </c:rich>
              </c:tx>
              <c:dLblPos val="t"/>
              <c:showLegendKey val="0"/>
              <c:showVal val="1"/>
              <c:showCatName val="0"/>
              <c:showSerName val="0"/>
              <c:showPercent val="0"/>
              <c:showBubbleSize val="0"/>
            </c:dLbl>
            <c:dLbl>
              <c:idx val="11"/>
              <c:tx>
                <c:rich>
                  <a:bodyPr/>
                  <a:lstStyle/>
                  <a:p>
                    <a:r>
                      <a:t>14.97</a:t>
                    </a:r>
                  </a:p>
                </c:rich>
              </c:tx>
              <c:dLblPos val="t"/>
              <c:showLegendKey val="0"/>
              <c:showVal val="1"/>
              <c:showCatName val="0"/>
              <c:showSerName val="0"/>
              <c:showPercent val="0"/>
              <c:showBubbleSize val="0"/>
            </c:dLbl>
            <c:dLbl>
              <c:idx val="12"/>
              <c:tx>
                <c:rich>
                  <a:bodyPr/>
                  <a:lstStyle/>
                  <a:p>
                    <a:r>
                      <a:t>14.13</a:t>
                    </a:r>
                  </a:p>
                </c:rich>
              </c:tx>
              <c:dLblPos val="t"/>
              <c:showLegendKey val="0"/>
              <c:showVal val="1"/>
              <c:showCatName val="0"/>
              <c:showSerName val="0"/>
              <c:showPercent val="0"/>
              <c:showBubbleSize val="0"/>
            </c:dLbl>
            <c:dLbl>
              <c:idx val="13"/>
              <c:tx>
                <c:rich>
                  <a:bodyPr/>
                  <a:lstStyle/>
                  <a:p>
                    <a:r>
                      <a:t>27.75</a:t>
                    </a:r>
                  </a:p>
                </c:rich>
              </c:tx>
              <c:dLblPos val="t"/>
              <c:showLegendKey val="0"/>
              <c:showVal val="1"/>
              <c:showCatName val="0"/>
              <c:showSerName val="0"/>
              <c:showPercent val="0"/>
              <c:showBubbleSize val="0"/>
            </c:dLbl>
            <c:dLbl>
              <c:idx val="14"/>
              <c:tx>
                <c:rich>
                  <a:bodyPr/>
                  <a:lstStyle/>
                  <a:p>
                    <a:r>
                      <a:t>9.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SCHICK XTREME 3 SENSITIVE GREEN BLACK 3 BLADE DISPOSABLE SENSITIVE 8CT</c:v>
                </c:pt>
                <c:pt idx="8">
                  <c:v>SCHICK XTREME 3 SENSITIVE GREEN BLACK 3 BLADE DISPOSABLE SENSITIVE 4CT</c:v>
                </c:pt>
                <c:pt idx="9">
                  <c:v>SCHICK XTREME 3 SENSITIVE GREEN BLACK 3 BLADE DISPOSABLE SENSITIVE 12CT</c:v>
                </c:pt>
                <c:pt idx="10">
                  <c:v>SCHICK HYDRO 3 SENSITIVE 3 BLADE RAZOR SENSITIVE 4CT</c:v>
                </c:pt>
                <c:pt idx="11">
                  <c:v>CREMO 5 BLADE RAZOR NORMAL 2CT</c:v>
                </c:pt>
                <c:pt idx="12">
                  <c:v>CREMO 5 BLADE REFILL NORMAL 4CT</c:v>
                </c:pt>
                <c:pt idx="13">
                  <c:v>HYDRO 5 DRY SKIN 5 BLADE RAZOR DRY 17CT</c:v>
                </c:pt>
                <c:pt idx="14">
                  <c:v>BULLDOG 5 BLADE REFILL NORMAL 4CT</c:v>
                </c:pt>
              </c:strCache>
            </c:strRef>
          </c:cat>
          <c:val>
            <c:numRef>
              <c:f>Sheet1!$B$2:$B$16</c:f>
              <c:numCache>
                <c:formatCode>General</c:formatCode>
                <c:ptCount val="15"/>
                <c:pt idx="0">
                  <c:v>14.97</c:v>
                </c:pt>
                <c:pt idx="1">
                  <c:v>6.78</c:v>
                </c:pt>
                <c:pt idx="2">
                  <c:v>11.52</c:v>
                </c:pt>
                <c:pt idx="3">
                  <c:v>9.97</c:v>
                </c:pt>
                <c:pt idx="4">
                  <c:v>6.78</c:v>
                </c:pt>
                <c:pt idx="5">
                  <c:v>26.97</c:v>
                </c:pt>
                <c:pt idx="6">
                  <c:v>15.72</c:v>
                </c:pt>
                <c:pt idx="7">
                  <c:v>11.52</c:v>
                </c:pt>
                <c:pt idx="8">
                  <c:v>6.78</c:v>
                </c:pt>
                <c:pt idx="9">
                  <c:v>15.72</c:v>
                </c:pt>
                <c:pt idx="10">
                  <c:v>9.99</c:v>
                </c:pt>
                <c:pt idx="11">
                  <c:v>14.97</c:v>
                </c:pt>
                <c:pt idx="12">
                  <c:v>14.13</c:v>
                </c:pt>
                <c:pt idx="13">
                  <c:v>27.75</c:v>
                </c:pt>
                <c:pt idx="14">
                  <c:v>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1.99</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2.25</a:t>
                    </a:r>
                  </a:p>
                </c:rich>
              </c:tx>
              <c:showLegendKey val="0"/>
              <c:showVal val="1"/>
              <c:showCatName val="0"/>
              <c:showSerName val="0"/>
              <c:showPercent val="0"/>
              <c:showBubbleSize val="0"/>
            </c:dLbl>
            <c:dLbl>
              <c:idx val="4"/>
              <c:tx>
                <c:rich>
                  <a:bodyPr/>
                  <a:lstStyle/>
                  <a:p>
                    <a:r>
                      <a:t>13.97</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13.97</a:t>
                    </a:r>
                  </a:p>
                </c:rich>
              </c:tx>
              <c:showLegendKey val="0"/>
              <c:showVal val="1"/>
              <c:showCatName val="0"/>
              <c:showSerName val="0"/>
              <c:showPercent val="0"/>
              <c:showBubbleSize val="0"/>
            </c:dLbl>
            <c:dLbl>
              <c:idx val="7"/>
              <c:tx>
                <c:rich>
                  <a:bodyPr/>
                  <a:lstStyle/>
                  <a:p>
                    <a:r>
                      <a:t>16.97</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16.97</a:t>
                    </a:r>
                  </a:p>
                </c:rich>
              </c:tx>
              <c:showLegendKey val="0"/>
              <c:showVal val="1"/>
              <c:showCatName val="0"/>
              <c:showSerName val="0"/>
              <c:showPercent val="0"/>
              <c:showBubbleSize val="0"/>
            </c:dLbl>
            <c:dLbl>
              <c:idx val="10"/>
              <c:tx>
                <c:rich>
                  <a:bodyPr/>
                  <a:lstStyle/>
                  <a:p>
                    <a:r>
                      <a:t>45.67</a:t>
                    </a:r>
                  </a:p>
                </c:rich>
              </c:tx>
              <c:showLegendKey val="0"/>
              <c:showVal val="1"/>
              <c:showCatName val="0"/>
              <c:showSerName val="0"/>
              <c:showPercent val="0"/>
              <c:showBubbleSize val="0"/>
            </c:dLbl>
            <c:dLbl>
              <c:idx val="11"/>
              <c:tx>
                <c:rich>
                  <a:bodyPr/>
                  <a:lstStyle/>
                  <a:p>
                    <a:r>
                      <a:t>13.97</a:t>
                    </a:r>
                  </a:p>
                </c:rich>
              </c:tx>
              <c:showLegendKey val="0"/>
              <c:showVal val="1"/>
              <c:showCatName val="0"/>
              <c:showSerName val="0"/>
              <c:showPercent val="0"/>
              <c:showBubbleSize val="0"/>
            </c:dLbl>
            <c:dLbl>
              <c:idx val="12"/>
              <c:tx>
                <c:rich>
                  <a:bodyPr/>
                  <a:lstStyle/>
                  <a:p>
                    <a:r>
                      <a:t>1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DOLLAR SHAVE CLUB BLACK 6 BLADE RAZOR NORMAL 2CT</c:v>
                </c:pt>
                <c:pt idx="2">
                  <c:v>GILLETTE FUSION 5 5 BLADE RAZOR NORMAL 1CT</c:v>
                </c:pt>
                <c:pt idx="3">
                  <c:v>GILLETTE FUSION 5 5 BLADE RAZOR NORMAL 2CT</c:v>
                </c:pt>
                <c:pt idx="4">
                  <c:v>GILLETTE FUSION 5 5 BLADE RAZOR NORMAL 7CT</c:v>
                </c:pt>
                <c:pt idx="5">
                  <c:v>GILLETTE FUSION 5 PROGLIDE 5 BLADE RAZOR NORMAL 1CT</c:v>
                </c:pt>
                <c:pt idx="6">
                  <c:v>GILLETTE FUSION 5 PROGLIDE 5 BLADE RAZOR NORMAL 2CT</c:v>
                </c:pt>
                <c:pt idx="7">
                  <c:v>GILLETTE FUSION 5 PROGLIDE STYLER REM BLADES RAZOR 1CT</c:v>
                </c:pt>
                <c:pt idx="8">
                  <c:v>GILLETTE FUSION 5 PROSHIELD 5 BLADE RAZOR NORMAL 1CT</c:v>
                </c:pt>
                <c:pt idx="9">
                  <c:v>GILLETTE FUSION 5 PROSHIELD 5 BLADE RAZOR NORMAL 8CT</c:v>
                </c:pt>
                <c:pt idx="10">
                  <c:v>GILLETTE FUSION 5 PROSHIELD GRAY 5 BLADE RAZOR NORMAL 2CT</c:v>
                </c:pt>
                <c:pt idx="11">
                  <c:v>GILLETTE INTIMATE BLACK 5 BLADE RAZOR NORMAL 2CT</c:v>
                </c:pt>
                <c:pt idx="12">
                  <c:v>GILLETTE LABS 5 BLADE RAZOR NORMAL 1CT</c:v>
                </c:pt>
              </c:strCache>
            </c:strRef>
          </c:cat>
          <c:val>
            <c:numRef>
              <c:f>Sheet1!$B$2:$B$16</c:f>
              <c:numCache>
                <c:formatCode>General</c:formatCode>
                <c:ptCount val="15"/>
                <c:pt idx="0">
                  <c:v>14.97</c:v>
                </c:pt>
                <c:pt idx="1">
                  <c:v>11.99</c:v>
                </c:pt>
                <c:pt idx="2">
                  <c:v>8.97</c:v>
                </c:pt>
                <c:pt idx="3">
                  <c:v>12.25</c:v>
                </c:pt>
                <c:pt idx="4">
                  <c:v>13.97</c:v>
                </c:pt>
                <c:pt idx="5">
                  <c:v>29.97</c:v>
                </c:pt>
                <c:pt idx="6">
                  <c:v>13.97</c:v>
                </c:pt>
                <c:pt idx="7">
                  <c:v>16.97</c:v>
                </c:pt>
                <c:pt idx="8">
                  <c:v>29.97</c:v>
                </c:pt>
                <c:pt idx="9">
                  <c:v>16.97</c:v>
                </c:pt>
                <c:pt idx="10">
                  <c:v>45.67</c:v>
                </c:pt>
                <c:pt idx="11">
                  <c:v>13.97</c:v>
                </c:pt>
                <c:pt idx="12">
                  <c:v>17.9</c:v>
                </c:pt>
                <c:pt idx="13">
                  <c:v>17.24</c:v>
                </c:pt>
                <c:pt idx="14">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26.97</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6.97</a:t>
                    </a:r>
                  </a:p>
                </c:rich>
              </c:tx>
              <c:showLegendKey val="0"/>
              <c:showVal val="1"/>
              <c:showCatName val="0"/>
              <c:showSerName val="0"/>
              <c:showPercent val="0"/>
              <c:showBubbleSize val="0"/>
            </c:dLbl>
            <c:dLbl>
              <c:idx val="4"/>
              <c:tx>
                <c:rich>
                  <a:bodyPr/>
                  <a:lstStyle/>
                  <a:p>
                    <a:r>
                      <a:t>24.97</a:t>
                    </a:r>
                  </a:p>
                </c:rich>
              </c:tx>
              <c:showLegendKey val="0"/>
              <c:showVal val="1"/>
              <c:showCatName val="0"/>
              <c:showSerName val="0"/>
              <c:showPercent val="0"/>
              <c:showBubbleSize val="0"/>
            </c:dLbl>
            <c:dLbl>
              <c:idx val="5"/>
              <c:tx>
                <c:rich>
                  <a:bodyPr/>
                  <a:lstStyle/>
                  <a:p>
                    <a:r>
                      <a:t>39.97</a:t>
                    </a:r>
                  </a:p>
                </c:rich>
              </c:tx>
              <c:showLegendKey val="0"/>
              <c:showVal val="1"/>
              <c:showCatName val="0"/>
              <c:showSerName val="0"/>
              <c:showPercent val="0"/>
              <c:showBubbleSize val="0"/>
            </c:dLbl>
            <c:dLbl>
              <c:idx val="6"/>
              <c:tx>
                <c:rich>
                  <a:bodyPr/>
                  <a:lstStyle/>
                  <a:p>
                    <a:r>
                      <a:t>16.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14.99</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28.97</a:t>
                    </a:r>
                  </a:p>
                </c:rich>
              </c:tx>
              <c:showLegendKey val="0"/>
              <c:showVal val="1"/>
              <c:showCatName val="0"/>
              <c:showSerName val="0"/>
              <c:showPercent val="0"/>
              <c:showBubbleSize val="0"/>
            </c:dLbl>
            <c:dLbl>
              <c:idx val="12"/>
              <c:tx>
                <c:rich>
                  <a:bodyPr/>
                  <a:lstStyle/>
                  <a:p>
                    <a:r>
                      <a:t>34.87</a:t>
                    </a:r>
                  </a:p>
                </c:rich>
              </c:tx>
              <c:showLegendKey val="0"/>
              <c:showVal val="1"/>
              <c:showCatName val="0"/>
              <c:showSerName val="0"/>
              <c:showPercent val="0"/>
              <c:showBubbleSize val="0"/>
            </c:dLbl>
            <c:dLbl>
              <c:idx val="13"/>
              <c:tx>
                <c:rich>
                  <a:bodyPr/>
                  <a:lstStyle/>
                  <a:p>
                    <a:r>
                      <a:t>37.97</a:t>
                    </a:r>
                  </a:p>
                </c:rich>
              </c:tx>
              <c:showLegendKey val="0"/>
              <c:showVal val="1"/>
              <c:showCatName val="0"/>
              <c:showSerName val="0"/>
              <c:showPercent val="0"/>
              <c:showBubbleSize val="0"/>
            </c:dLbl>
            <c:dLbl>
              <c:idx val="14"/>
              <c:tx>
                <c:rich>
                  <a:bodyPr/>
                  <a:lstStyle/>
                  <a:p>
                    <a:r>
                      <a:t>1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DOLLAR SHAVE CLUB 6 BLADE REFILL NORMAL 4CT</c:v>
                </c:pt>
                <c:pt idx="3">
                  <c:v>DOLLAR SHAVE CLUB 6 BLADE REFILL NORMAL 8CT</c:v>
                </c:pt>
                <c:pt idx="4">
                  <c:v>GILLETTE (ATRA &amp; TRAC) 2 BLADE REFILL NORMAL 10CT</c:v>
                </c:pt>
                <c:pt idx="5">
                  <c:v>GILLETTE FUSION 5 5 BLADE REFILL NORMAL 12CT</c:v>
                </c:pt>
                <c:pt idx="6">
                  <c:v>GILLETTE FUSION 5 5 BLADE REFILL NORMAL 4CT</c:v>
                </c:pt>
                <c:pt idx="7">
                  <c:v>GILLETTE FUSION 5 PROGLIDE 5 BLADE REFILL NORMAL 4CT</c:v>
                </c:pt>
                <c:pt idx="8">
                  <c:v>GILLETTE FUSION 5 PROSHIELD 5 BLADE REFILL NORMAL 4CT</c:v>
                </c:pt>
                <c:pt idx="9">
                  <c:v>GILLETTE INTIMATE 5 BLADE REFILL NORMAL 4CT</c:v>
                </c:pt>
                <c:pt idx="10">
                  <c:v>GILLETTE LABS 5 BLADE REFILL NORMAL 4CT</c:v>
                </c:pt>
                <c:pt idx="11">
                  <c:v>GILLETTE LABS 5 BLADE REFILL NORMAL 6CT</c:v>
                </c:pt>
                <c:pt idx="12">
                  <c:v>GILLETTE LABS 5 BLADE REFILL NORMAL 9CT</c:v>
                </c:pt>
                <c:pt idx="13">
                  <c:v>GILLETTE MACH 3 3 BLADE REFILL NORMAL 15CT</c:v>
                </c:pt>
                <c:pt idx="14">
                  <c:v>GILLETTE MACH 3 3 BLADE REFILL NORMAL 4CT</c:v>
                </c:pt>
              </c:strCache>
            </c:strRef>
          </c:cat>
          <c:val>
            <c:numRef>
              <c:f>Sheet1!$B$2:$B$16</c:f>
              <c:numCache>
                <c:formatCode>General</c:formatCode>
                <c:ptCount val="15"/>
                <c:pt idx="0">
                  <c:v>14.97</c:v>
                </c:pt>
                <c:pt idx="1">
                  <c:v>26.97</c:v>
                </c:pt>
                <c:pt idx="2">
                  <c:v>8.97</c:v>
                </c:pt>
                <c:pt idx="3">
                  <c:v>16.97</c:v>
                </c:pt>
                <c:pt idx="4">
                  <c:v>24.97</c:v>
                </c:pt>
                <c:pt idx="5">
                  <c:v>39.97</c:v>
                </c:pt>
                <c:pt idx="6">
                  <c:v>16.97</c:v>
                </c:pt>
                <c:pt idx="7">
                  <c:v>17.97</c:v>
                </c:pt>
                <c:pt idx="8">
                  <c:v>17.97</c:v>
                </c:pt>
                <c:pt idx="9">
                  <c:v>14.99</c:v>
                </c:pt>
                <c:pt idx="10">
                  <c:v>19.97</c:v>
                </c:pt>
                <c:pt idx="11">
                  <c:v>28.97</c:v>
                </c:pt>
                <c:pt idx="12">
                  <c:v>34.87</c:v>
                </c:pt>
                <c:pt idx="13">
                  <c:v>37.97</c:v>
                </c:pt>
                <c:pt idx="14">
                  <c:v>1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7</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3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28.97</a:t>
                    </a:r>
                  </a:p>
                </c:rich>
              </c:tx>
              <c:showLegendKey val="0"/>
              <c:showVal val="1"/>
              <c:showCatName val="0"/>
              <c:showSerName val="0"/>
              <c:showPercent val="0"/>
              <c:showBubbleSize val="0"/>
            </c:dLbl>
            <c:dLbl>
              <c:idx val="11"/>
              <c:tx>
                <c:rich>
                  <a:bodyPr/>
                  <a:lstStyle/>
                  <a:p>
                    <a:r>
                      <a:t>34.87</a:t>
                    </a:r>
                  </a:p>
                </c:rich>
              </c:tx>
              <c:showLegendKey val="0"/>
              <c:showVal val="1"/>
              <c:showCatName val="0"/>
              <c:showSerName val="0"/>
              <c:showPercent val="0"/>
              <c:showBubbleSize val="0"/>
            </c:dLbl>
            <c:dLbl>
              <c:idx val="12"/>
              <c:tx>
                <c:rich>
                  <a:bodyPr/>
                  <a:lstStyle/>
                  <a:p>
                    <a:r>
                      <a:t>37.97</a:t>
                    </a:r>
                  </a:p>
                </c:rich>
              </c:tx>
              <c:showLegendKey val="0"/>
              <c:showVal val="1"/>
              <c:showCatName val="0"/>
              <c:showSerName val="0"/>
              <c:showPercent val="0"/>
              <c:showBubbleSize val="0"/>
            </c:dLbl>
            <c:dLbl>
              <c:idx val="13"/>
              <c:tx>
                <c:rich>
                  <a:bodyPr/>
                  <a:lstStyle/>
                  <a:p>
                    <a:r>
                      <a:t>12.97</a:t>
                    </a:r>
                  </a:p>
                </c:rich>
              </c:tx>
              <c:showLegendKey val="0"/>
              <c:showVal val="1"/>
              <c:showCatName val="0"/>
              <c:showSerName val="0"/>
              <c:showPercent val="0"/>
              <c:showBubbleSize val="0"/>
            </c:dLbl>
            <c:dLbl>
              <c:idx val="14"/>
              <c:tx>
                <c:rich>
                  <a:bodyPr/>
                  <a:lstStyle/>
                  <a:p>
                    <a:r>
                      <a:t>2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12CT</c:v>
                </c:pt>
                <c:pt idx="1">
                  <c:v>DOLLAR SHAVE CLUB 6 BLADE REFILL NORMAL 4CT</c:v>
                </c:pt>
                <c:pt idx="2">
                  <c:v>DOLLAR SHAVE CLUB 6 BLADE REFILL NORMAL 8CT</c:v>
                </c:pt>
                <c:pt idx="3">
                  <c:v>GILLETTE (ATRA &amp; TRAC) 2 BLADE REFILL NORMAL 10CT</c:v>
                </c:pt>
                <c:pt idx="4">
                  <c:v>GILLETTE FUSION 5 5 BLADE REFILL NORMAL 12CT</c:v>
                </c:pt>
                <c:pt idx="5">
                  <c:v>GILLETTE FUSION 5 5 BLADE REFILL NORMAL 4CT</c:v>
                </c:pt>
                <c:pt idx="6">
                  <c:v>GILLETTE FUSION 5 PROGLIDE 5 BLADE REFILL NORMAL 4CT</c:v>
                </c:pt>
                <c:pt idx="7">
                  <c:v>GILLETTE FUSION 5 PROSHIELD 5 BLADE REFILL NORMAL 4CT</c:v>
                </c:pt>
                <c:pt idx="8">
                  <c:v>GILLETTE INTIMATE 5 BLADE REFILL NORMAL 4CT</c:v>
                </c:pt>
                <c:pt idx="9">
                  <c:v>GILLETTE LABS 5 BLADE REFILL NORMAL 4CT</c:v>
                </c:pt>
                <c:pt idx="10">
                  <c:v>GILLETTE LABS 5 BLADE REFILL NORMAL 6CT</c:v>
                </c:pt>
                <c:pt idx="11">
                  <c:v>GILLETTE LABS 5 BLADE REFILL NORMAL 9CT</c:v>
                </c:pt>
                <c:pt idx="12">
                  <c:v>GILLETTE MACH 3 3 BLADE REFILL NORMAL 15CT</c:v>
                </c:pt>
                <c:pt idx="13">
                  <c:v>GILLETTE MACH 3 3 BLADE REFILL NORMAL 4CT</c:v>
                </c:pt>
                <c:pt idx="14">
                  <c:v>GILLETTE MACH 3 3 BLADE REFILL NORMAL 8CT</c:v>
                </c:pt>
              </c:strCache>
            </c:strRef>
          </c:cat>
          <c:val>
            <c:numRef>
              <c:f>Sheet1!$B$2:$B$16</c:f>
              <c:numCache>
                <c:formatCode>General</c:formatCode>
                <c:ptCount val="15"/>
                <c:pt idx="0">
                  <c:v>14.97</c:v>
                </c:pt>
                <c:pt idx="1">
                  <c:v>8.97</c:v>
                </c:pt>
                <c:pt idx="2">
                  <c:v>16.97</c:v>
                </c:pt>
                <c:pt idx="3">
                  <c:v>24.97</c:v>
                </c:pt>
                <c:pt idx="4">
                  <c:v>39.97</c:v>
                </c:pt>
                <c:pt idx="5">
                  <c:v>16.97</c:v>
                </c:pt>
                <c:pt idx="6">
                  <c:v>17.97</c:v>
                </c:pt>
                <c:pt idx="7">
                  <c:v>17.97</c:v>
                </c:pt>
                <c:pt idx="8">
                  <c:v>14.99</c:v>
                </c:pt>
                <c:pt idx="9">
                  <c:v>19.97</c:v>
                </c:pt>
                <c:pt idx="10">
                  <c:v>28.97</c:v>
                </c:pt>
                <c:pt idx="11">
                  <c:v>34.87</c:v>
                </c:pt>
                <c:pt idx="12">
                  <c:v>37.97</c:v>
                </c:pt>
                <c:pt idx="13">
                  <c:v>12.97</c:v>
                </c:pt>
                <c:pt idx="14">
                  <c:v>2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7</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3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28.97</a:t>
                    </a:r>
                  </a:p>
                </c:rich>
              </c:tx>
              <c:showLegendKey val="0"/>
              <c:showVal val="1"/>
              <c:showCatName val="0"/>
              <c:showSerName val="0"/>
              <c:showPercent val="0"/>
              <c:showBubbleSize val="0"/>
            </c:dLbl>
            <c:dLbl>
              <c:idx val="11"/>
              <c:tx>
                <c:rich>
                  <a:bodyPr/>
                  <a:lstStyle/>
                  <a:p>
                    <a:r>
                      <a:t>34.87</a:t>
                    </a:r>
                  </a:p>
                </c:rich>
              </c:tx>
              <c:showLegendKey val="0"/>
              <c:showVal val="1"/>
              <c:showCatName val="0"/>
              <c:showSerName val="0"/>
              <c:showPercent val="0"/>
              <c:showBubbleSize val="0"/>
            </c:dLbl>
            <c:dLbl>
              <c:idx val="12"/>
              <c:tx>
                <c:rich>
                  <a:bodyPr/>
                  <a:lstStyle/>
                  <a:p>
                    <a:r>
                      <a:t>37.97</a:t>
                    </a:r>
                  </a:p>
                </c:rich>
              </c:tx>
              <c:showLegendKey val="0"/>
              <c:showVal val="1"/>
              <c:showCatName val="0"/>
              <c:showSerName val="0"/>
              <c:showPercent val="0"/>
              <c:showBubbleSize val="0"/>
            </c:dLbl>
            <c:dLbl>
              <c:idx val="13"/>
              <c:tx>
                <c:rich>
                  <a:bodyPr/>
                  <a:lstStyle/>
                  <a:p>
                    <a:r>
                      <a:t>12.97</a:t>
                    </a:r>
                  </a:p>
                </c:rich>
              </c:tx>
              <c:showLegendKey val="0"/>
              <c:showVal val="1"/>
              <c:showCatName val="0"/>
              <c:showSerName val="0"/>
              <c:showPercent val="0"/>
              <c:showBubbleSize val="0"/>
            </c:dLbl>
            <c:dLbl>
              <c:idx val="14"/>
              <c:tx>
                <c:rich>
                  <a:bodyPr/>
                  <a:lstStyle/>
                  <a:p>
                    <a:r>
                      <a:t>2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DOLLAR SHAVE CLUB 6 BLADE REFILL NORMAL 4CT</c:v>
                </c:pt>
                <c:pt idx="2">
                  <c:v>DOLLAR SHAVE CLUB 6 BLADE REFILL NORMAL 8CT</c:v>
                </c:pt>
                <c:pt idx="3">
                  <c:v>GILLETTE (ATRA &amp; TRAC) 2 BLADE REFILL NORMAL 10CT</c:v>
                </c:pt>
                <c:pt idx="4">
                  <c:v>GILLETTE FUSION 5 5 BLADE REFILL NORMAL 12CT</c:v>
                </c:pt>
                <c:pt idx="5">
                  <c:v>GILLETTE FUSION 5 5 BLADE REFILL NORMAL 4CT</c:v>
                </c:pt>
                <c:pt idx="6">
                  <c:v>GILLETTE FUSION 5 PROGLIDE 5 BLADE REFILL NORMAL 4CT</c:v>
                </c:pt>
                <c:pt idx="7">
                  <c:v>GILLETTE FUSION 5 PROSHIELD 5 BLADE REFILL NORMAL 4CT</c:v>
                </c:pt>
                <c:pt idx="8">
                  <c:v>GILLETTE INTIMATE 5 BLADE REFILL NORMAL 4CT</c:v>
                </c:pt>
                <c:pt idx="9">
                  <c:v>GILLETTE LABS 5 BLADE REFILL NORMAL 4CT</c:v>
                </c:pt>
                <c:pt idx="10">
                  <c:v>GILLETTE LABS 5 BLADE REFILL NORMAL 6CT</c:v>
                </c:pt>
                <c:pt idx="11">
                  <c:v>GILLETTE LABS 5 BLADE REFILL NORMAL 9CT</c:v>
                </c:pt>
                <c:pt idx="12">
                  <c:v>GILLETTE MACH 3 3 BLADE REFILL NORMAL 15CT</c:v>
                </c:pt>
                <c:pt idx="13">
                  <c:v>GILLETTE MACH 3 3 BLADE REFILL NORMAL 4CT</c:v>
                </c:pt>
                <c:pt idx="14">
                  <c:v>GILLETTE MACH 3 3 BLADE REFILL NORMAL 8CT</c:v>
                </c:pt>
              </c:strCache>
            </c:strRef>
          </c:cat>
          <c:val>
            <c:numRef>
              <c:f>Sheet1!$B$2:$B$16</c:f>
              <c:numCache>
                <c:formatCode>General</c:formatCode>
                <c:ptCount val="15"/>
                <c:pt idx="0">
                  <c:v>14.13</c:v>
                </c:pt>
                <c:pt idx="1">
                  <c:v>8.97</c:v>
                </c:pt>
                <c:pt idx="2">
                  <c:v>16.97</c:v>
                </c:pt>
                <c:pt idx="3">
                  <c:v>24.97</c:v>
                </c:pt>
                <c:pt idx="4">
                  <c:v>39.97</c:v>
                </c:pt>
                <c:pt idx="5">
                  <c:v>16.97</c:v>
                </c:pt>
                <c:pt idx="6">
                  <c:v>17.97</c:v>
                </c:pt>
                <c:pt idx="7">
                  <c:v>17.97</c:v>
                </c:pt>
                <c:pt idx="8">
                  <c:v>14.99</c:v>
                </c:pt>
                <c:pt idx="9">
                  <c:v>19.97</c:v>
                </c:pt>
                <c:pt idx="10">
                  <c:v>28.97</c:v>
                </c:pt>
                <c:pt idx="11">
                  <c:v>34.87</c:v>
                </c:pt>
                <c:pt idx="12">
                  <c:v>37.97</c:v>
                </c:pt>
                <c:pt idx="13">
                  <c:v>12.97</c:v>
                </c:pt>
                <c:pt idx="14">
                  <c:v>2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52</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26.97</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14.13</a:t>
                    </a:r>
                  </a:p>
                </c:rich>
              </c:tx>
              <c:showLegendKey val="0"/>
              <c:showVal val="1"/>
              <c:showCatName val="0"/>
              <c:showSerName val="0"/>
              <c:showPercent val="0"/>
              <c:showBubbleSize val="0"/>
            </c:dLbl>
            <c:dLbl>
              <c:idx val="10"/>
              <c:tx>
                <c:rich>
                  <a:bodyPr/>
                  <a:lstStyle/>
                  <a:p>
                    <a:r>
                      <a:t>11.52</a:t>
                    </a:r>
                  </a:p>
                </c:rich>
              </c:tx>
              <c:showLegendKey val="0"/>
              <c:showVal val="1"/>
              <c:showCatName val="0"/>
              <c:showSerName val="0"/>
              <c:showPercent val="0"/>
              <c:showBubbleSize val="0"/>
            </c:dLbl>
            <c:dLbl>
              <c:idx val="11"/>
              <c:tx>
                <c:rich>
                  <a:bodyPr/>
                  <a:lstStyle/>
                  <a:p>
                    <a:r>
                      <a:t>15.72</a:t>
                    </a:r>
                  </a:p>
                </c:rich>
              </c:tx>
              <c:showLegendKey val="0"/>
              <c:showVal val="1"/>
              <c:showCatName val="0"/>
              <c:showSerName val="0"/>
              <c:showPercent val="0"/>
              <c:showBubbleSize val="0"/>
            </c:dLbl>
            <c:dLbl>
              <c:idx val="12"/>
              <c:tx>
                <c:rich>
                  <a:bodyPr/>
                  <a:lstStyle/>
                  <a:p>
                    <a:r>
                      <a:t>14.97</a:t>
                    </a:r>
                  </a:p>
                </c:rich>
              </c:tx>
              <c:showLegendKey val="0"/>
              <c:showVal val="1"/>
              <c:showCatName val="0"/>
              <c:showSerName val="0"/>
              <c:showPercent val="0"/>
              <c:showBubbleSize val="0"/>
            </c:dLbl>
            <c:dLbl>
              <c:idx val="13"/>
              <c:tx>
                <c:rich>
                  <a:bodyPr/>
                  <a:lstStyle/>
                  <a:p>
                    <a:r>
                      <a:t>11.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3 SENSITIVE BLACK 3 BLADE DISPOSABLE SENSITIVE 4CT</c:v>
                </c:pt>
                <c:pt idx="1">
                  <c:v>SCHICK XTREME 2 SENSITIVE 2 BLADE DISPOSABLE NORMAL 12CT</c:v>
                </c:pt>
                <c:pt idx="2">
                  <c:v>HYDRO 5 SENSITIVE 5 BLADE REFILL SENSITIVE 6CT</c:v>
                </c:pt>
                <c:pt idx="3">
                  <c:v>SCHICK XTREME 3 SENSITIVE GREEN 3 BLADE DISPOSABLE SENSITIVE 8CT</c:v>
                </c:pt>
                <c:pt idx="4">
                  <c:v>HYDRO 5 SENSITIVE 5 BLADE RAZOR SENSITIVE 3CT</c:v>
                </c:pt>
                <c:pt idx="5">
                  <c:v>HYDRO 5 SENSITIVE 5 BLADE REFILL SENSITIVE 12CT</c:v>
                </c:pt>
                <c:pt idx="6">
                  <c:v>SCHICK XTREME 3 SENSITIVE BLACK GREEN 3 BLADE DISPOSABLE SENSITIVE 12CT</c:v>
                </c:pt>
                <c:pt idx="7">
                  <c:v>SCHICK XTREME 3 SENSITIVE GREEN BLACK 3 BLADE DISPOSABLE SENSITIVE 4CT</c:v>
                </c:pt>
                <c:pt idx="8">
                  <c:v>SCHICK HYDRO 3 SENSITIVE 3 BLADE RAZOR SENSITIVE 4CT</c:v>
                </c:pt>
                <c:pt idx="9">
                  <c:v>CREMO 5 BLADE REFILL NORMAL 4CT</c:v>
                </c:pt>
                <c:pt idx="10">
                  <c:v>SCHICK XTREME 3 SENSITIVE GREEN BLACK 3 BLADE DISPOSABLE SENSITIVE 8CT</c:v>
                </c:pt>
                <c:pt idx="11">
                  <c:v>SCHICK XTREME 3 SENSITIVE GREEN BLACK 3 BLADE DISPOSABLE SENSITIVE 12CT</c:v>
                </c:pt>
                <c:pt idx="12">
                  <c:v>CREMO 5 BLADE RAZOR NORMAL 2CT</c:v>
                </c:pt>
                <c:pt idx="13">
                  <c:v>HYDRO 5 DRY SKIN 5 BLADE RAZOR DRY 17CT</c:v>
                </c:pt>
              </c:strCache>
            </c:strRef>
          </c:cat>
          <c:val>
            <c:numRef>
              <c:f>Sheet1!$B$2:$B$16</c:f>
              <c:numCache>
                <c:formatCode>General</c:formatCode>
                <c:ptCount val="15"/>
                <c:pt idx="0">
                  <c:v>6.78</c:v>
                </c:pt>
                <c:pt idx="1">
                  <c:v>6.78</c:v>
                </c:pt>
                <c:pt idx="2">
                  <c:v>14.97</c:v>
                </c:pt>
                <c:pt idx="3">
                  <c:v>11.52</c:v>
                </c:pt>
                <c:pt idx="4">
                  <c:v>9.97</c:v>
                </c:pt>
                <c:pt idx="5">
                  <c:v>26.97</c:v>
                </c:pt>
                <c:pt idx="6">
                  <c:v>15.72</c:v>
                </c:pt>
                <c:pt idx="7">
                  <c:v>6.78</c:v>
                </c:pt>
                <c:pt idx="8">
                  <c:v>9.99</c:v>
                </c:pt>
                <c:pt idx="9">
                  <c:v>14.13</c:v>
                </c:pt>
                <c:pt idx="10">
                  <c:v>11.52</c:v>
                </c:pt>
                <c:pt idx="11">
                  <c:v>15.72</c:v>
                </c:pt>
                <c:pt idx="12">
                  <c:v>14.97</c:v>
                </c:pt>
                <c:pt idx="13">
                  <c:v>11.99</c:v>
                </c:pt>
                <c:pt idx="14">
                  <c:v>2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14.13</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11.99</a:t>
                    </a:r>
                  </a:p>
                </c:rich>
              </c:tx>
              <c:showLegendKey val="0"/>
              <c:showVal val="1"/>
              <c:showCatName val="0"/>
              <c:showSerName val="0"/>
              <c:showPercent val="0"/>
              <c:showBubbleSize val="0"/>
            </c:dLbl>
            <c:dLbl>
              <c:idx val="7"/>
              <c:tx>
                <c:rich>
                  <a:bodyPr/>
                  <a:lstStyle/>
                  <a:p>
                    <a:r>
                      <a:t>27.75</a:t>
                    </a:r>
                  </a:p>
                </c:rich>
              </c:tx>
              <c:showLegendKey val="0"/>
              <c:showVal val="1"/>
              <c:showCatName val="0"/>
              <c:showSerName val="0"/>
              <c:showPercent val="0"/>
              <c:showBubbleSize val="0"/>
            </c:dLbl>
            <c:dLbl>
              <c:idx val="8"/>
              <c:tx>
                <c:rich>
                  <a:bodyPr/>
                  <a:lstStyle/>
                  <a:p>
                    <a:r>
                      <a:t>9.79</a:t>
                    </a:r>
                  </a:p>
                </c:rich>
              </c:tx>
              <c:showLegendKey val="0"/>
              <c:showVal val="1"/>
              <c:showCatName val="0"/>
              <c:showSerName val="0"/>
              <c:showPercent val="0"/>
              <c:showBubbleSize val="0"/>
            </c:dLbl>
            <c:dLbl>
              <c:idx val="9"/>
              <c:tx>
                <c:rich>
                  <a:bodyPr/>
                  <a:lstStyle/>
                  <a:p>
                    <a:r>
                      <a:t>11.47</a:t>
                    </a:r>
                  </a:p>
                </c:rich>
              </c:tx>
              <c:showLegendKey val="0"/>
              <c:showVal val="1"/>
              <c:showCatName val="0"/>
              <c:showSerName val="0"/>
              <c:showPercent val="0"/>
              <c:showBubbleSize val="0"/>
            </c:dLbl>
            <c:dLbl>
              <c:idx val="10"/>
              <c:tx>
                <c:rich>
                  <a:bodyPr/>
                  <a:lstStyle/>
                  <a:p>
                    <a:r>
                      <a:t>6.05</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10.97</a:t>
                    </a:r>
                  </a:p>
                </c:rich>
              </c:tx>
              <c:showLegendKey val="0"/>
              <c:showVal val="1"/>
              <c:showCatName val="0"/>
              <c:showSerName val="0"/>
              <c:showPercent val="0"/>
              <c:showBubbleSize val="0"/>
            </c:dLbl>
            <c:dLbl>
              <c:idx val="13"/>
              <c:tx>
                <c:rich>
                  <a:bodyPr/>
                  <a:lstStyle/>
                  <a:p>
                    <a:r>
                      <a:t>10.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AZOR SENSITIVE 3CT</c:v>
                </c:pt>
                <c:pt idx="2">
                  <c:v>HYDRO 5 SENSITIVE 5 BLADE REFILL SENSITIVE 12CT</c:v>
                </c:pt>
                <c:pt idx="3">
                  <c:v>SCHICK HYDRO 3 SENSITIVE 3 BLADE RAZOR SENSITIVE 4CT</c:v>
                </c:pt>
                <c:pt idx="4">
                  <c:v>CREMO 5 BLADE REFILL NORMAL 4CT</c:v>
                </c:pt>
                <c:pt idx="5">
                  <c:v>CREMO 5 BLADE RAZOR NORMAL 2CT</c:v>
                </c:pt>
                <c:pt idx="6">
                  <c:v>HYDRO 5 DRY SKIN 5 BLADE RAZOR DRY 17CT</c:v>
                </c:pt>
                <c:pt idx="7">
                  <c:v>BULLDOG 5 BLADE REFILL NORMAL 4CT</c:v>
                </c:pt>
                <c:pt idx="8">
                  <c:v>BIC COMFORT 3 HYBRID 3 BLADE HYBRID NORMAL 12CT</c:v>
                </c:pt>
                <c:pt idx="9">
                  <c:v>BIC EASYRINSE 4 BLADE HYBRID NORMAL 3CT</c:v>
                </c:pt>
                <c:pt idx="10">
                  <c:v>BIC FLEX 4 4 BLADE HYBRID NORMAL 4CT</c:v>
                </c:pt>
                <c:pt idx="11">
                  <c:v>BIC FLEX 4 4 BLADE HYBRID SENSITIVE 10CT</c:v>
                </c:pt>
                <c:pt idx="12">
                  <c:v>BIC FLEX 5 5 BLADE HYBRID SENSITIVE 8CT</c:v>
                </c:pt>
                <c:pt idx="13">
                  <c:v>BIC FLEX 5 BLACK WHITE 5 BLADE HYBRID SENSITIVE 3CT</c:v>
                </c:pt>
              </c:strCache>
            </c:strRef>
          </c:cat>
          <c:val>
            <c:numRef>
              <c:f>Sheet1!$B$2:$B$16</c:f>
              <c:numCache>
                <c:formatCode>General</c:formatCode>
                <c:ptCount val="15"/>
                <c:pt idx="0">
                  <c:v>14.97</c:v>
                </c:pt>
                <c:pt idx="1">
                  <c:v>9.97</c:v>
                </c:pt>
                <c:pt idx="2">
                  <c:v>26.97</c:v>
                </c:pt>
                <c:pt idx="3">
                  <c:v>9.99</c:v>
                </c:pt>
                <c:pt idx="4">
                  <c:v>14.13</c:v>
                </c:pt>
                <c:pt idx="5">
                  <c:v>14.97</c:v>
                </c:pt>
                <c:pt idx="6">
                  <c:v>11.99</c:v>
                </c:pt>
                <c:pt idx="7">
                  <c:v>27.75</c:v>
                </c:pt>
                <c:pt idx="8">
                  <c:v>9.79</c:v>
                </c:pt>
                <c:pt idx="9">
                  <c:v>11.47</c:v>
                </c:pt>
                <c:pt idx="10">
                  <c:v>6.05</c:v>
                </c:pt>
                <c:pt idx="11">
                  <c:v>6.74</c:v>
                </c:pt>
                <c:pt idx="12">
                  <c:v>10.97</c:v>
                </c:pt>
                <c:pt idx="13">
                  <c:v>10.97</c:v>
                </c:pt>
                <c:pt idx="14">
                  <c:v>7.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5.72</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11.52</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5.22</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SCHICK XTREME 3 3 BLADE DISPOSABLE SENSITIVE 6CT</c:v>
                </c:pt>
                <c:pt idx="8">
                  <c:v>BIC 3 SENSITIVE 3 BLADE DISPOSABLE NORMAL 12CT</c:v>
                </c:pt>
                <c:pt idx="9">
                  <c:v>BIC COMFORT 3 MULTI COLOR 3 BLADE DISPOSABLE SENSITIVE 4CT</c:v>
                </c:pt>
                <c:pt idx="10">
                  <c:v>BIC FLEX 3 3 BLADE DISPOSABLE NORMAL 2CT</c:v>
                </c:pt>
                <c:pt idx="11">
                  <c:v>BIC FLEX 4 4 BLADE DISPOSABLE SENSITIVE 3CT</c:v>
                </c:pt>
                <c:pt idx="12">
                  <c:v>BIC FLEX 5 BLACK WHITE 5 BLADE DISPOSABLE NORMAL 2CT</c:v>
                </c:pt>
                <c:pt idx="13">
                  <c:v>BIC FLEX 5 BLACK WHITE 5 BLADE DISPOSABLE SENSITIVE 2CT</c:v>
                </c:pt>
                <c:pt idx="14">
                  <c:v>BIC SENSITIVE 2 2 BLADE DISPOSABLE NORMAL 10CT</c:v>
                </c:pt>
              </c:strCache>
            </c:strRef>
          </c:cat>
          <c:val>
            <c:numRef>
              <c:f>Sheet1!$B$2:$B$16</c:f>
              <c:numCache>
                <c:formatCode>General</c:formatCode>
                <c:ptCount val="15"/>
                <c:pt idx="0">
                  <c:v>6.78</c:v>
                </c:pt>
                <c:pt idx="1">
                  <c:v>6.78</c:v>
                </c:pt>
                <c:pt idx="2">
                  <c:v>11.52</c:v>
                </c:pt>
                <c:pt idx="3">
                  <c:v>15.72</c:v>
                </c:pt>
                <c:pt idx="4">
                  <c:v>6.78</c:v>
                </c:pt>
                <c:pt idx="5">
                  <c:v>11.52</c:v>
                </c:pt>
                <c:pt idx="6">
                  <c:v>15.72</c:v>
                </c:pt>
                <c:pt idx="7">
                  <c:v>6.78</c:v>
                </c:pt>
                <c:pt idx="8">
                  <c:v>11.29</c:v>
                </c:pt>
                <c:pt idx="9">
                  <c:v>4.17</c:v>
                </c:pt>
                <c:pt idx="10">
                  <c:v>5.22</c:v>
                </c:pt>
                <c:pt idx="11">
                  <c:v>6.74</c:v>
                </c:pt>
                <c:pt idx="12">
                  <c:v>7.27</c:v>
                </c:pt>
                <c:pt idx="13">
                  <c:v>7.27</c:v>
                </c:pt>
                <c:pt idx="14">
                  <c:v>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99</a:t>
                    </a:r>
                  </a:p>
                </c:rich>
              </c:tx>
              <c:showLegendKey val="0"/>
              <c:showVal val="1"/>
              <c:showCatName val="0"/>
              <c:showSerName val="0"/>
              <c:showPercent val="0"/>
              <c:showBubbleSize val="0"/>
            </c:dLbl>
            <c:dLbl>
              <c:idx val="4"/>
              <c:tx>
                <c:rich>
                  <a:bodyPr/>
                  <a:lstStyle/>
                  <a:p>
                    <a:r>
                      <a:t>27.75</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12.24</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10.47</a:t>
                    </a:r>
                  </a:p>
                </c:rich>
              </c:tx>
              <c:showLegendKey val="0"/>
              <c:showVal val="1"/>
              <c:showCatName val="0"/>
              <c:showSerName val="0"/>
              <c:showPercent val="0"/>
              <c:showBubbleSize val="0"/>
            </c:dLbl>
            <c:dLbl>
              <c:idx val="10"/>
              <c:tx>
                <c:rich>
                  <a:bodyPr/>
                  <a:lstStyle/>
                  <a:p>
                    <a:r>
                      <a:t>12.25</a:t>
                    </a:r>
                  </a:p>
                </c:rich>
              </c:tx>
              <c:showLegendKey val="0"/>
              <c:showVal val="1"/>
              <c:showCatName val="0"/>
              <c:showSerName val="0"/>
              <c:showPercent val="0"/>
              <c:showBubbleSize val="0"/>
            </c:dLbl>
            <c:dLbl>
              <c:idx val="11"/>
              <c:tx>
                <c:rich>
                  <a:bodyPr/>
                  <a:lstStyle/>
                  <a:p>
                    <a:r>
                      <a:t>13.97</a:t>
                    </a:r>
                  </a:p>
                </c:rich>
              </c:tx>
              <c:showLegendKey val="0"/>
              <c:showVal val="1"/>
              <c:showCatName val="0"/>
              <c:showSerName val="0"/>
              <c:showPercent val="0"/>
              <c:showBubbleSize val="0"/>
            </c:dLbl>
            <c:dLbl>
              <c:idx val="12"/>
              <c:tx>
                <c:rich>
                  <a:bodyPr/>
                  <a:lstStyle/>
                  <a:p>
                    <a:r>
                      <a:t>29.97</a:t>
                    </a:r>
                  </a:p>
                </c:rich>
              </c:tx>
              <c:showLegendKey val="0"/>
              <c:showVal val="1"/>
              <c:showCatName val="0"/>
              <c:showSerName val="0"/>
              <c:showPercent val="0"/>
              <c:showBubbleSize val="0"/>
            </c:dLbl>
            <c:dLbl>
              <c:idx val="13"/>
              <c:tx>
                <c:rich>
                  <a:bodyPr/>
                  <a:lstStyle/>
                  <a:p>
                    <a:r>
                      <a:t>1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SCHICK HYDRO 3 SENSITIVE 3 BLADE RAZOR SENSITIVE 4CT</c:v>
                </c:pt>
                <c:pt idx="2">
                  <c:v>CREMO 5 BLADE RAZOR NORMAL 2CT</c:v>
                </c:pt>
                <c:pt idx="3">
                  <c:v>HYDRO 5 DRY SKIN 5 BLADE RAZOR DRY 17CT</c:v>
                </c:pt>
                <c:pt idx="4">
                  <c:v>HARRY'S CRAFT HANDLE SILVER 5 BLADE RAZOR NORMAL 2CT</c:v>
                </c:pt>
                <c:pt idx="5">
                  <c:v>HARRY'S LIGHT ORANGE 5 BLADE RAZOR NORMAL 2CT</c:v>
                </c:pt>
                <c:pt idx="6">
                  <c:v>HARRY'S SILVER 5 BLADE RAZOR NORMAL 2CT</c:v>
                </c:pt>
                <c:pt idx="7">
                  <c:v>HARRY'S SILVER 5 BLADE RAZOR NORMAL 5CT</c:v>
                </c:pt>
                <c:pt idx="8">
                  <c:v>HARRY'S SURF BLUE 5 BLADE RAZOR NORMAL 2CT</c:v>
                </c:pt>
                <c:pt idx="9">
                  <c:v>GILLETTE FUSION 5 5 BLADE RAZOR NORMAL 1CT</c:v>
                </c:pt>
                <c:pt idx="10">
                  <c:v>GILLETTE FUSION 5 5 BLADE RAZOR NORMAL 2CT</c:v>
                </c:pt>
                <c:pt idx="11">
                  <c:v>GILLETTE FUSION 5 5 BLADE RAZOR NORMAL 7CT</c:v>
                </c:pt>
                <c:pt idx="12">
                  <c:v>GILLETTE FUSION 5 PROGLIDE 5 BLADE RAZOR NORMAL 1CT</c:v>
                </c:pt>
                <c:pt idx="13">
                  <c:v>GILLETTE FUSION 5 PROGLIDE 5 BLADE RAZOR NORMAL 2CT</c:v>
                </c:pt>
              </c:strCache>
            </c:strRef>
          </c:cat>
          <c:val>
            <c:numRef>
              <c:f>Sheet1!$B$2:$B$16</c:f>
              <c:numCache>
                <c:formatCode>General</c:formatCode>
                <c:ptCount val="15"/>
                <c:pt idx="0">
                  <c:v>9.97</c:v>
                </c:pt>
                <c:pt idx="1">
                  <c:v>9.99</c:v>
                </c:pt>
                <c:pt idx="2">
                  <c:v>14.97</c:v>
                </c:pt>
                <c:pt idx="3">
                  <c:v>11.99</c:v>
                </c:pt>
                <c:pt idx="4">
                  <c:v>27.75</c:v>
                </c:pt>
                <c:pt idx="5">
                  <c:v>14.97</c:v>
                </c:pt>
                <c:pt idx="6">
                  <c:v>12.24</c:v>
                </c:pt>
                <c:pt idx="7">
                  <c:v>11.97</c:v>
                </c:pt>
                <c:pt idx="8">
                  <c:v>17.97</c:v>
                </c:pt>
                <c:pt idx="9">
                  <c:v>10.47</c:v>
                </c:pt>
                <c:pt idx="10">
                  <c:v>12.25</c:v>
                </c:pt>
                <c:pt idx="11">
                  <c:v>13.97</c:v>
                </c:pt>
                <c:pt idx="12">
                  <c:v>29.97</c:v>
                </c:pt>
                <c:pt idx="13">
                  <c:v>13.97</c:v>
                </c:pt>
                <c:pt idx="14">
                  <c:v>1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26.97</a:t>
                    </a:r>
                  </a:p>
                </c:rich>
              </c:tx>
              <c:showLegendKey val="0"/>
              <c:showVal val="1"/>
              <c:showCatName val="0"/>
              <c:showSerName val="0"/>
              <c:showPercent val="0"/>
              <c:showBubbleSize val="0"/>
            </c:dLbl>
            <c:dLbl>
              <c:idx val="2"/>
              <c:tx>
                <c:rich>
                  <a:bodyPr/>
                  <a:lstStyle/>
                  <a:p>
                    <a:r>
                      <a:t>14.13</a:t>
                    </a:r>
                  </a:p>
                </c:rich>
              </c:tx>
              <c:showLegendKey val="0"/>
              <c:showVal val="1"/>
              <c:showCatName val="0"/>
              <c:showSerName val="0"/>
              <c:showPercent val="0"/>
              <c:showBubbleSize val="0"/>
            </c:dLbl>
            <c:dLbl>
              <c:idx val="3"/>
              <c:tx>
                <c:rich>
                  <a:bodyPr/>
                  <a:lstStyle/>
                  <a:p>
                    <a:r>
                      <a:t>9.79</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24.97</a:t>
                    </a:r>
                  </a:p>
                </c:rich>
              </c:tx>
              <c:showLegendKey val="0"/>
              <c:showVal val="1"/>
              <c:showCatName val="0"/>
              <c:showSerName val="0"/>
              <c:showPercent val="0"/>
              <c:showBubbleSize val="0"/>
            </c:dLbl>
            <c:dLbl>
              <c:idx val="7"/>
              <c:tx>
                <c:rich>
                  <a:bodyPr/>
                  <a:lstStyle/>
                  <a:p>
                    <a:r>
                      <a:t>39.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17.97</a:t>
                    </a:r>
                  </a:p>
                </c:rich>
              </c:tx>
              <c:showLegendKey val="0"/>
              <c:showVal val="1"/>
              <c:showCatName val="0"/>
              <c:showSerName val="0"/>
              <c:showPercent val="0"/>
              <c:showBubbleSize val="0"/>
            </c:dLbl>
            <c:dLbl>
              <c:idx val="10"/>
              <c:tx>
                <c:rich>
                  <a:bodyPr/>
                  <a:lstStyle/>
                  <a:p>
                    <a:r>
                      <a:t>17.97</a:t>
                    </a:r>
                  </a:p>
                </c:rich>
              </c:tx>
              <c:showLegendKey val="0"/>
              <c:showVal val="1"/>
              <c:showCatName val="0"/>
              <c:showSerName val="0"/>
              <c:showPercent val="0"/>
              <c:showBubbleSize val="0"/>
            </c:dLbl>
            <c:dLbl>
              <c:idx val="11"/>
              <c:tx>
                <c:rich>
                  <a:bodyPr/>
                  <a:lstStyle/>
                  <a:p>
                    <a:r>
                      <a:t>14.99</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28.97</a:t>
                    </a:r>
                  </a:p>
                </c:rich>
              </c:tx>
              <c:showLegendKey val="0"/>
              <c:showVal val="1"/>
              <c:showCatName val="0"/>
              <c:showSerName val="0"/>
              <c:showPercent val="0"/>
              <c:showBubbleSize val="0"/>
            </c:dLbl>
            <c:dLbl>
              <c:idx val="14"/>
              <c:tx>
                <c:rich>
                  <a:bodyPr/>
                  <a:lstStyle/>
                  <a:p>
                    <a:r>
                      <a:t>34.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CREMO 5 BLADE REFILL NORMAL 4CT</c:v>
                </c:pt>
                <c:pt idx="3">
                  <c:v>BULLDOG 5 BLADE REFILL NORMAL 4CT</c:v>
                </c:pt>
                <c:pt idx="4">
                  <c:v>HARRY'S 5 BLADE REFILL NORMAL 4CT</c:v>
                </c:pt>
                <c:pt idx="5">
                  <c:v>HARRY'S 5 BLADE REFILL NORMAL 8CT</c:v>
                </c:pt>
                <c:pt idx="6">
                  <c:v>GILLETTE (ATRA &amp; TRAC) 2 BLADE REFILL NORMAL 10CT</c:v>
                </c:pt>
                <c:pt idx="7">
                  <c:v>GILLETTE FUSION 5 5 BLADE REFILL NORMAL 12CT</c:v>
                </c:pt>
                <c:pt idx="8">
                  <c:v>GILLETTE FUSION 5 5 BLADE REFILL NORMAL 4CT</c:v>
                </c:pt>
                <c:pt idx="9">
                  <c:v>GILLETTE FUSION 5 PROGLIDE 5 BLADE REFILL NORMAL 4CT</c:v>
                </c:pt>
                <c:pt idx="10">
                  <c:v>GILLETTE FUSION 5 PROSHIELD 5 BLADE REFILL NORMAL 4CT</c:v>
                </c:pt>
                <c:pt idx="11">
                  <c:v>GILLETTE INTIMATE 5 BLADE REFILL NORMAL 4CT</c:v>
                </c:pt>
                <c:pt idx="12">
                  <c:v>GILLETTE LABS 5 BLADE REFILL NORMAL 4CT</c:v>
                </c:pt>
                <c:pt idx="13">
                  <c:v>GILLETTE LABS 5 BLADE REFILL NORMAL 6CT</c:v>
                </c:pt>
                <c:pt idx="14">
                  <c:v>GILLETTE LABS 5 BLADE REFILL NORMAL 9CT</c:v>
                </c:pt>
              </c:strCache>
            </c:strRef>
          </c:cat>
          <c:val>
            <c:numRef>
              <c:f>Sheet1!$B$2:$B$16</c:f>
              <c:numCache>
                <c:formatCode>General</c:formatCode>
                <c:ptCount val="15"/>
                <c:pt idx="0">
                  <c:v>14.97</c:v>
                </c:pt>
                <c:pt idx="1">
                  <c:v>26.97</c:v>
                </c:pt>
                <c:pt idx="2">
                  <c:v>14.13</c:v>
                </c:pt>
                <c:pt idx="3">
                  <c:v>9.79</c:v>
                </c:pt>
                <c:pt idx="4">
                  <c:v>9.97</c:v>
                </c:pt>
                <c:pt idx="5">
                  <c:v>16.97</c:v>
                </c:pt>
                <c:pt idx="6">
                  <c:v>24.97</c:v>
                </c:pt>
                <c:pt idx="7">
                  <c:v>39.97</c:v>
                </c:pt>
                <c:pt idx="8">
                  <c:v>16.97</c:v>
                </c:pt>
                <c:pt idx="9">
                  <c:v>17.97</c:v>
                </c:pt>
                <c:pt idx="10">
                  <c:v>17.97</c:v>
                </c:pt>
                <c:pt idx="11">
                  <c:v>14.99</c:v>
                </c:pt>
                <c:pt idx="12">
                  <c:v>19.97</c:v>
                </c:pt>
                <c:pt idx="13">
                  <c:v>28.97</c:v>
                </c:pt>
                <c:pt idx="14">
                  <c:v>34.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B$2:$B$9</c:f>
              <c:numCache>
                <c:formatCode>General</c:formatCode>
                <c:ptCount val="8"/>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C$2:$C$9</c:f>
              <c:numCache>
                <c:formatCode>General</c:formatCode>
                <c:ptCount val="8"/>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E$2:$E$9</c:f>
              <c:numCache>
                <c:formatCode>General</c:formatCode>
                <c:ptCount val="8"/>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H$2:$H$9</c:f>
              <c:numCache>
                <c:formatCode>General</c:formatCode>
                <c:ptCount val="8"/>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I$2:$I$9</c:f>
              <c:numCache>
                <c:formatCode>General</c:formatCode>
                <c:ptCount val="8"/>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J$2:$J$9</c:f>
              <c:numCache>
                <c:formatCode>General</c:formatCode>
                <c:ptCount val="8"/>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K$2:$K$9</c:f>
              <c:numCache>
                <c:formatCode>General</c:formatCode>
                <c:ptCount val="8"/>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L$2:$L$9</c:f>
              <c:numCache>
                <c:formatCode>General</c:formatCode>
                <c:ptCount val="8"/>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M$2:$M$9</c:f>
              <c:numCache>
                <c:formatCode>General</c:formatCode>
                <c:ptCount val="8"/>
                <c:pt idx="0">
                  <c:v>5.2695</c:v>
                </c:pt>
                <c:pt idx="1">
                  <c:v>8.3619</c:v>
                </c:pt>
                <c:pt idx="2">
                  <c:v>14.3525</c:v>
                </c:pt>
                <c:pt idx="3">
                  <c:v>12.6982</c:v>
                </c:pt>
                <c:pt idx="4">
                  <c:v>10.8144</c:v>
                </c:pt>
                <c:pt idx="5">
                  <c:v>6.1608</c:v>
                </c:pt>
                <c:pt idx="7">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N$2:$N$9</c:f>
              <c:numCache>
                <c:formatCode>General</c:formatCode>
                <c:ptCount val="8"/>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O$2:$O$9</c:f>
              <c:numCache>
                <c:formatCode>General</c:formatCode>
                <c:ptCount val="8"/>
                <c:pt idx="0">
                  <c:v>7.5893</c:v>
                </c:pt>
                <c:pt idx="1">
                  <c:v>5.7777</c:v>
                </c:pt>
                <c:pt idx="2">
                  <c:v>12.7214</c:v>
                </c:pt>
                <c:pt idx="3">
                  <c:v>14.763</c:v>
                </c:pt>
                <c:pt idx="4">
                  <c:v>9.7866</c:v>
                </c:pt>
                <c:pt idx="5">
                  <c:v>6.4199</c:v>
                </c:pt>
                <c:pt idx="6">
                  <c:v>4.9328</c:v>
                </c:pt>
                <c:pt idx="7">
                  <c:v>8.996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P$2:$P$9</c:f>
              <c:numCache>
                <c:formatCode>General</c:formatCode>
                <c:ptCount val="8"/>
                <c:pt idx="3">
                  <c:v>31.26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Q$2:$Q$9</c:f>
              <c:numCache>
                <c:formatCode>General</c:formatCode>
                <c:ptCount val="8"/>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R$2:$R$9</c:f>
              <c:numCache>
                <c:formatCode>General</c:formatCode>
                <c:ptCount val="8"/>
                <c:pt idx="0">
                  <c:v>15.1917</c:v>
                </c:pt>
                <c:pt idx="3">
                  <c:v>20.0851</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S$2:$S$9</c:f>
              <c:numCache>
                <c:formatCode>General</c:formatCode>
                <c:ptCount val="8"/>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T$2:$T$9</c:f>
              <c:numCache>
                <c:formatCode>General</c:formatCode>
                <c:ptCount val="8"/>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U$2:$U$9</c:f>
              <c:numCache>
                <c:formatCode>General</c:formatCode>
                <c:ptCount val="8"/>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11.52</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6.78</a:t>
                    </a:r>
                  </a:p>
                </c:rich>
              </c:tx>
              <c:dLblPos val="t"/>
              <c:showLegendKey val="0"/>
              <c:showVal val="1"/>
              <c:showCatName val="0"/>
              <c:showSerName val="0"/>
              <c:showPercent val="0"/>
              <c:showBubbleSize val="0"/>
            </c:dLbl>
            <c:dLbl>
              <c:idx val="5"/>
              <c:tx>
                <c:rich>
                  <a:bodyPr/>
                  <a:lstStyle/>
                  <a:p>
                    <a:r>
                      <a:t>26.97</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11.52</a:t>
                    </a:r>
                  </a:p>
                </c:rich>
              </c:tx>
              <c:dLblPos val="t"/>
              <c:showLegendKey val="0"/>
              <c:showVal val="1"/>
              <c:showCatName val="0"/>
              <c:showSerName val="0"/>
              <c:showPercent val="0"/>
              <c:showBubbleSize val="0"/>
            </c:dLbl>
            <c:dLbl>
              <c:idx val="8"/>
              <c:tx>
                <c:rich>
                  <a:bodyPr/>
                  <a:lstStyle/>
                  <a:p>
                    <a:r>
                      <a:t>6.78</a:t>
                    </a:r>
                  </a:p>
                </c:rich>
              </c:tx>
              <c:dLblPos val="t"/>
              <c:showLegendKey val="0"/>
              <c:showVal val="1"/>
              <c:showCatName val="0"/>
              <c:showSerName val="0"/>
              <c:showPercent val="0"/>
              <c:showBubbleSize val="0"/>
            </c:dLbl>
            <c:dLbl>
              <c:idx val="9"/>
              <c:tx>
                <c:rich>
                  <a:bodyPr/>
                  <a:lstStyle/>
                  <a:p>
                    <a:r>
                      <a:t>15.72</a:t>
                    </a:r>
                  </a:p>
                </c:rich>
              </c:tx>
              <c:dLblPos val="t"/>
              <c:showLegendKey val="0"/>
              <c:showVal val="1"/>
              <c:showCatName val="0"/>
              <c:showSerName val="0"/>
              <c:showPercent val="0"/>
              <c:showBubbleSize val="0"/>
            </c:dLbl>
            <c:dLbl>
              <c:idx val="10"/>
              <c:tx>
                <c:rich>
                  <a:bodyPr/>
                  <a:lstStyle/>
                  <a:p>
                    <a:r>
                      <a:t>9.99</a:t>
                    </a:r>
                  </a:p>
                </c:rich>
              </c:tx>
              <c:dLblPos val="t"/>
              <c:showLegendKey val="0"/>
              <c:showVal val="1"/>
              <c:showCatName val="0"/>
              <c:showSerName val="0"/>
              <c:showPercent val="0"/>
              <c:showBubbleSize val="0"/>
            </c:dLbl>
            <c:dLbl>
              <c:idx val="11"/>
              <c:tx>
                <c:rich>
                  <a:bodyPr/>
                  <a:lstStyle/>
                  <a:p>
                    <a:r>
                      <a:t>14.97</a:t>
                    </a:r>
                  </a:p>
                </c:rich>
              </c:tx>
              <c:dLblPos val="t"/>
              <c:showLegendKey val="0"/>
              <c:showVal val="1"/>
              <c:showCatName val="0"/>
              <c:showSerName val="0"/>
              <c:showPercent val="0"/>
              <c:showBubbleSize val="0"/>
            </c:dLbl>
            <c:dLbl>
              <c:idx val="12"/>
              <c:tx>
                <c:rich>
                  <a:bodyPr/>
                  <a:lstStyle/>
                  <a:p>
                    <a:r>
                      <a:t>14.13</a:t>
                    </a:r>
                  </a:p>
                </c:rich>
              </c:tx>
              <c:dLblPos val="t"/>
              <c:showLegendKey val="0"/>
              <c:showVal val="1"/>
              <c:showCatName val="0"/>
              <c:showSerName val="0"/>
              <c:showPercent val="0"/>
              <c:showBubbleSize val="0"/>
            </c:dLbl>
            <c:dLbl>
              <c:idx val="13"/>
              <c:tx>
                <c:rich>
                  <a:bodyPr/>
                  <a:lstStyle/>
                  <a:p>
                    <a:r>
                      <a:t>27.75</a:t>
                    </a:r>
                  </a:p>
                </c:rich>
              </c:tx>
              <c:dLblPos val="t"/>
              <c:showLegendKey val="0"/>
              <c:showVal val="1"/>
              <c:showCatName val="0"/>
              <c:showSerName val="0"/>
              <c:showPercent val="0"/>
              <c:showBubbleSize val="0"/>
            </c:dLbl>
            <c:dLbl>
              <c:idx val="14"/>
              <c:tx>
                <c:rich>
                  <a:bodyPr/>
                  <a:lstStyle/>
                  <a:p>
                    <a:r>
                      <a:t>9.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SCHICK XTREME 3 SENSITIVE GREEN BLACK 3 BLADE DISPOSABLE SENSITIVE 8CT</c:v>
                </c:pt>
                <c:pt idx="8">
                  <c:v>SCHICK XTREME 3 SENSITIVE GREEN BLACK 3 BLADE DISPOSABLE SENSITIVE 4CT</c:v>
                </c:pt>
                <c:pt idx="9">
                  <c:v>SCHICK XTREME 3 SENSITIVE GREEN BLACK 3 BLADE DISPOSABLE SENSITIVE 12CT</c:v>
                </c:pt>
                <c:pt idx="10">
                  <c:v>SCHICK HYDRO 3 SENSITIVE 3 BLADE RAZOR SENSITIVE 4CT</c:v>
                </c:pt>
                <c:pt idx="11">
                  <c:v>CREMO 5 BLADE RAZOR NORMAL 2CT</c:v>
                </c:pt>
                <c:pt idx="12">
                  <c:v>CREMO 5 BLADE REFILL NORMAL 4CT</c:v>
                </c:pt>
                <c:pt idx="13">
                  <c:v>HYDRO 5 DRY SKIN 5 BLADE RAZOR DRY 17CT</c:v>
                </c:pt>
                <c:pt idx="14">
                  <c:v>BULLDOG 5 BLADE REFILL NORMAL 4CT</c:v>
                </c:pt>
              </c:strCache>
            </c:strRef>
          </c:cat>
          <c:val>
            <c:numRef>
              <c:f>Sheet1!$B$2:$B$16</c:f>
              <c:numCache>
                <c:formatCode>General</c:formatCode>
                <c:ptCount val="15"/>
                <c:pt idx="0">
                  <c:v>14.97</c:v>
                </c:pt>
                <c:pt idx="1">
                  <c:v>6.78</c:v>
                </c:pt>
                <c:pt idx="2">
                  <c:v>11.52</c:v>
                </c:pt>
                <c:pt idx="3">
                  <c:v>9.97</c:v>
                </c:pt>
                <c:pt idx="4">
                  <c:v>6.78</c:v>
                </c:pt>
                <c:pt idx="5">
                  <c:v>26.97</c:v>
                </c:pt>
                <c:pt idx="6">
                  <c:v>15.72</c:v>
                </c:pt>
                <c:pt idx="7">
                  <c:v>11.52</c:v>
                </c:pt>
                <c:pt idx="8">
                  <c:v>6.78</c:v>
                </c:pt>
                <c:pt idx="9">
                  <c:v>15.72</c:v>
                </c:pt>
                <c:pt idx="10">
                  <c:v>9.99</c:v>
                </c:pt>
                <c:pt idx="11">
                  <c:v>14.97</c:v>
                </c:pt>
                <c:pt idx="12">
                  <c:v>14.13</c:v>
                </c:pt>
                <c:pt idx="13">
                  <c:v>27.75</c:v>
                </c:pt>
                <c:pt idx="14">
                  <c:v>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B$2:$B$6</c:f>
              <c:numCache>
                <c:formatCode>General</c:formatCode>
                <c:ptCount val="5"/>
                <c:pt idx="3">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C$2:$C$6</c:f>
              <c:numCache>
                <c:formatCode>General</c:formatCode>
                <c:ptCount val="5"/>
                <c:pt idx="2">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D$2:$D$6</c:f>
              <c:numCache>
                <c:formatCode>General</c:formatCode>
                <c:ptCount val="5"/>
                <c:pt idx="2">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E$2:$E$6</c:f>
              <c:numCache>
                <c:formatCode>General</c:formatCode>
                <c:ptCount val="5"/>
                <c:pt idx="2">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F$2:$F$6</c:f>
              <c:numCache>
                <c:formatCode>General</c:formatCode>
                <c:ptCount val="5"/>
                <c:pt idx="0">
                  <c:v>18.1376</c:v>
                </c:pt>
                <c:pt idx="2">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G$2:$G$6</c:f>
              <c:numCache>
                <c:formatCode>General</c:formatCode>
                <c:ptCount val="5"/>
                <c:pt idx="2">
                  <c:v>22.1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H$2:$H$6</c:f>
              <c:numCache>
                <c:formatCode>General</c:formatCode>
                <c:ptCount val="5"/>
                <c:pt idx="0">
                  <c:v>21.75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I$2:$I$6</c:f>
              <c:numCache>
                <c:formatCode>General</c:formatCode>
                <c:ptCount val="5"/>
                <c:pt idx="2">
                  <c:v>31.7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J$2:$J$6</c:f>
              <c:numCache>
                <c:formatCode>General</c:formatCode>
                <c:ptCount val="5"/>
                <c:pt idx="1">
                  <c:v>9.64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K$2:$K$6</c:f>
              <c:numCache>
                <c:formatCode>General</c:formatCode>
                <c:ptCount val="5"/>
                <c:pt idx="2">
                  <c:v>28.6354</c:v>
                </c:pt>
                <c:pt idx="4">
                  <c:v>17.716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5.7784</c:v>
                </c:pt>
                <c:pt idx="1">
                  <c:v>6.5436</c:v>
                </c:pt>
                <c:pt idx="2">
                  <c:v>13.5345</c:v>
                </c:pt>
                <c:pt idx="3">
                  <c:v>14.105</c:v>
                </c:pt>
                <c:pt idx="4">
                  <c:v>9.8974</c:v>
                </c:pt>
                <c:pt idx="5">
                  <c:v>6.3728</c:v>
                </c:pt>
                <c:pt idx="6">
                  <c:v>8.96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Q$2:$Q$10</c:f>
              <c:numCache>
                <c:formatCode>General</c:formatCode>
                <c:ptCount val="9"/>
                <c:pt idx="0">
                  <c:v>7.8026</c:v>
                </c:pt>
                <c:pt idx="1">
                  <c:v>10.5593</c:v>
                </c:pt>
                <c:pt idx="3">
                  <c:v>21.7854</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B$2:$B$10</c:f>
              <c:numCache>
                <c:formatCode>General</c:formatCode>
                <c:ptCount val="9"/>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C$2:$C$10</c:f>
              <c:numCache>
                <c:formatCode>General</c:formatCode>
                <c:ptCount val="9"/>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D$2:$D$10</c:f>
              <c:numCache>
                <c:formatCode>General</c:formatCode>
                <c:ptCount val="9"/>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E$2:$E$10</c:f>
              <c:numCache>
                <c:formatCode>General</c:formatCode>
                <c:ptCount val="9"/>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F$2:$F$10</c:f>
              <c:numCache>
                <c:formatCode>General</c:formatCode>
                <c:ptCount val="9"/>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G$2:$G$10</c:f>
              <c:numCache>
                <c:formatCode>General</c:formatCode>
                <c:ptCount val="9"/>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H$2:$H$10</c:f>
              <c:numCache>
                <c:formatCode>General</c:formatCode>
                <c:ptCount val="9"/>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I$2:$I$10</c:f>
              <c:numCache>
                <c:formatCode>General</c:formatCode>
                <c:ptCount val="9"/>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J$2:$J$10</c:f>
              <c:numCache>
                <c:formatCode>General</c:formatCode>
                <c:ptCount val="9"/>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K$2:$K$10</c:f>
              <c:numCache>
                <c:formatCode>General</c:formatCode>
                <c:ptCount val="9"/>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L$2:$L$10</c:f>
              <c:numCache>
                <c:formatCode>General</c:formatCode>
                <c:ptCount val="9"/>
                <c:pt idx="0">
                  <c:v>11.443</c:v>
                </c:pt>
                <c:pt idx="1">
                  <c:v>8.9443</c:v>
                </c:pt>
                <c:pt idx="2">
                  <c:v>12.7214</c:v>
                </c:pt>
                <c:pt idx="3">
                  <c:v>17.4046</c:v>
                </c:pt>
                <c:pt idx="4">
                  <c:v>10.0264</c:v>
                </c:pt>
                <c:pt idx="5">
                  <c:v>6.8789</c:v>
                </c:pt>
                <c:pt idx="6">
                  <c:v>8.9963</c:v>
                </c:pt>
                <c:pt idx="7">
                  <c:v>7.833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M$2:$M$10</c:f>
              <c:numCache>
                <c:formatCode>General</c:formatCode>
                <c:ptCount val="9"/>
                <c:pt idx="0">
                  <c:v>12.5425</c:v>
                </c:pt>
                <c:pt idx="1">
                  <c:v>5.4</c:v>
                </c:pt>
                <c:pt idx="2">
                  <c:v>9.5861</c:v>
                </c:pt>
                <c:pt idx="3">
                  <c:v>23.4824</c:v>
                </c:pt>
                <c:pt idx="4">
                  <c:v>16.775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N$2:$N$10</c:f>
              <c:numCache>
                <c:formatCode>General</c:formatCode>
                <c:ptCount val="9"/>
                <c:pt idx="0">
                  <c:v>15.194</c:v>
                </c:pt>
                <c:pt idx="3">
                  <c:v>22.3148</c:v>
                </c:pt>
                <c:pt idx="8">
                  <c:v>6.50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O$2:$O$10</c:f>
              <c:numCache>
                <c:formatCode>General</c:formatCode>
                <c:ptCount val="9"/>
                <c:pt idx="0">
                  <c:v>5.4197</c:v>
                </c:pt>
                <c:pt idx="5">
                  <c:v>12.212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P$2:$P$10</c:f>
              <c:numCache>
                <c:formatCode>General</c:formatCode>
                <c:ptCount val="9"/>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Q$2:$Q$10</c:f>
              <c:numCache>
                <c:formatCode>General</c:formatCode>
                <c:ptCount val="9"/>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0">
                  <c:v>7.0706</c:v>
                </c:pt>
                <c:pt idx="1">
                  <c:v>3.97</c:v>
                </c:pt>
                <c:pt idx="2">
                  <c:v>7.2951</c:v>
                </c:pt>
                <c:pt idx="3">
                  <c:v>5.7992</c:v>
                </c:pt>
                <c:pt idx="4">
                  <c:v>3.88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2">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11.3234</c:v>
                </c:pt>
                <c:pt idx="1">
                  <c:v>5.9797</c:v>
                </c:pt>
                <c:pt idx="2">
                  <c:v>12.0094</c:v>
                </c:pt>
                <c:pt idx="3">
                  <c:v>5.536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T$2:$T$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1">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G$2:$G$4</c:f>
              <c:numCache>
                <c:formatCode>General</c:formatCode>
                <c:ptCount val="3"/>
                <c:pt idx="0">
                  <c:v>9.64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H$2:$H$4</c:f>
              <c:numCache>
                <c:formatCode>General</c:formatCode>
                <c:ptCount val="3"/>
                <c:pt idx="1">
                  <c:v>32.14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I$2:$I$4</c:f>
              <c:numCache>
                <c:formatCode>General</c:formatCode>
                <c:ptCount val="3"/>
                <c:pt idx="1">
                  <c:v>28.63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Bic</c:v>
                </c:pt>
              </c:strCache>
            </c:strRef>
          </c:cat>
          <c:val>
            <c:numRef>
              <c:f>Sheet1!$B$2:$B$4</c:f>
              <c:numCache>
                <c:formatCode>General</c:formatCode>
                <c:ptCount val="3"/>
                <c:pt idx="0">
                  <c:v>18.13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C$2:$C$4</c:f>
              <c:numCache>
                <c:formatCode>General</c:formatCode>
                <c:ptCount val="3"/>
                <c:pt idx="1">
                  <c:v>22.17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D$2:$D$4</c:f>
              <c:numCache>
                <c:formatCode>General</c:formatCode>
                <c:ptCount val="3"/>
                <c:pt idx="0">
                  <c:v>21.75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E$2:$E$4</c:f>
              <c:numCache>
                <c:formatCode>General</c:formatCode>
                <c:ptCount val="3"/>
                <c:pt idx="1">
                  <c:v>31.7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F$2:$F$4</c:f>
              <c:numCache>
                <c:formatCode>General</c:formatCode>
                <c:ptCount val="3"/>
                <c:pt idx="2">
                  <c:v>17.716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9.1995</c:v>
                </c:pt>
                <c:pt idx="1">
                  <c:v>8.9444</c:v>
                </c:pt>
                <c:pt idx="2">
                  <c:v>13.5345</c:v>
                </c:pt>
                <c:pt idx="3">
                  <c:v>16.6165</c:v>
                </c:pt>
                <c:pt idx="4">
                  <c:v>9.97</c:v>
                </c:pt>
                <c:pt idx="5">
                  <c:v>6.7359</c:v>
                </c:pt>
                <c:pt idx="6">
                  <c:v>8.96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5.3163</c:v>
                </c:pt>
                <c:pt idx="1">
                  <c:v>15.2946</c:v>
                </c:pt>
                <c:pt idx="3">
                  <c:v>26.9981</c:v>
                </c:pt>
                <c:pt idx="4">
                  <c:v>16.9503</c:v>
                </c:pt>
                <c:pt idx="6">
                  <c:v>16.913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2">
                  <c:v>9.9791</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3.972</c:v>
                </c:pt>
                <c:pt idx="1">
                  <c:v>6.4918</c:v>
                </c:pt>
                <c:pt idx="2">
                  <c:v>6.9784</c:v>
                </c:pt>
                <c:pt idx="3">
                  <c:v>5.95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0">
                  <c:v>1.0034</c:v>
                </c:pt>
                <c:pt idx="3">
                  <c:v>4.918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1">
                  <c:v>5.6071</c:v>
                </c:pt>
                <c:pt idx="2">
                  <c:v>13.06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O$2:$O$5</c:f>
              <c:numCache>
                <c:formatCode>General</c:formatCode>
                <c:ptCount val="4"/>
                <c:pt idx="2">
                  <c:v>14.990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P$2:$P$5</c:f>
              <c:numCache>
                <c:formatCode>General</c:formatCode>
                <c:ptCount val="4"/>
                <c:pt idx="0">
                  <c:v>5.9797</c:v>
                </c:pt>
                <c:pt idx="1">
                  <c:v>10.5602</c:v>
                </c:pt>
                <c:pt idx="2">
                  <c:v>12.0142</c:v>
                </c:pt>
                <c:pt idx="3">
                  <c:v>5.33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0">
                  <c:v>9.1042</c:v>
                </c:pt>
                <c:pt idx="1">
                  <c:v>8.4393</c:v>
                </c:pt>
                <c:pt idx="2">
                  <c:v>14.3525</c:v>
                </c:pt>
                <c:pt idx="3">
                  <c:v>13.2033</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1.3406</c:v>
                </c:pt>
                <c:pt idx="3">
                  <c:v>22.39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1.030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53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O$2:$O$9</c:f>
              <c:numCache>
                <c:formatCode>General</c:formatCode>
                <c:ptCount val="8"/>
                <c:pt idx="3">
                  <c:v>28.914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B$2:$B$8</c:f>
              <c:numCache>
                <c:formatCode>General</c:formatCode>
                <c:ptCount val="7"/>
                <c:pt idx="1">
                  <c:v>3.0</c:v>
                </c:pt>
                <c:pt idx="3">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C$2:$C$8</c:f>
              <c:numCache>
                <c:formatCode>General</c:formatCode>
                <c:ptCount val="7"/>
                <c:pt idx="0">
                  <c:v>25.8588</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D$2:$D$8</c:f>
              <c:numCache>
                <c:formatCode>General</c:formatCode>
                <c:ptCount val="7"/>
                <c:pt idx="3">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E$2:$E$8</c:f>
              <c:numCache>
                <c:formatCode>General</c:formatCode>
                <c:ptCount val="7"/>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F$2:$F$8</c:f>
              <c:numCache>
                <c:formatCode>General</c:formatCode>
                <c:ptCount val="7"/>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G$2:$G$8</c:f>
              <c:numCache>
                <c:formatCode>General</c:formatCode>
                <c:ptCount val="7"/>
                <c:pt idx="3">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H$2:$H$8</c:f>
              <c:numCache>
                <c:formatCode>General</c:formatCode>
                <c:ptCount val="7"/>
                <c:pt idx="0">
                  <c:v>4.8825</c:v>
                </c:pt>
                <c:pt idx="3">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I$2:$I$8</c:f>
              <c:numCache>
                <c:formatCode>General</c:formatCode>
                <c:ptCount val="7"/>
                <c:pt idx="0">
                  <c:v>11.7565</c:v>
                </c:pt>
                <c:pt idx="1">
                  <c:v>8.9443</c:v>
                </c:pt>
                <c:pt idx="2">
                  <c:v>12.7214</c:v>
                </c:pt>
                <c:pt idx="3">
                  <c:v>17.4135</c:v>
                </c:pt>
                <c:pt idx="4">
                  <c:v>10.0264</c:v>
                </c:pt>
                <c:pt idx="5">
                  <c:v>8.9963</c:v>
                </c:pt>
                <c:pt idx="6">
                  <c:v>8.23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J$2:$J$8</c:f>
              <c:numCache>
                <c:formatCode>General</c:formatCode>
                <c:ptCount val="7"/>
                <c:pt idx="0">
                  <c:v>11.7188</c:v>
                </c:pt>
                <c:pt idx="1">
                  <c:v>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K$2:$K$8</c:f>
              <c:numCache>
                <c:formatCode>General</c:formatCode>
                <c:ptCount val="7"/>
                <c:pt idx="0">
                  <c:v>15.194</c:v>
                </c:pt>
                <c:pt idx="3">
                  <c:v>31.83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L$2:$L$8</c:f>
              <c:numCache>
                <c:formatCode>General</c:formatCode>
                <c:ptCount val="7"/>
                <c:pt idx="0">
                  <c:v>5.41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M$2:$M$8</c:f>
              <c:numCache>
                <c:formatCode>General</c:formatCode>
                <c:ptCount val="7"/>
                <c:pt idx="0">
                  <c:v>13.0096</c:v>
                </c:pt>
                <c:pt idx="1">
                  <c:v>15.2905</c:v>
                </c:pt>
                <c:pt idx="3">
                  <c:v>29.6969</c:v>
                </c:pt>
                <c:pt idx="4">
                  <c:v>17.1079</c:v>
                </c:pt>
                <c:pt idx="5">
                  <c:v>16.6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N$2:$N$8</c:f>
              <c:numCache>
                <c:formatCode>General</c:formatCode>
                <c:ptCount val="7"/>
                <c:pt idx="3">
                  <c:v>37.032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0.19</c:v>
                </c:pt>
                <c:pt idx="11">
                  <c:v>17.2</c:v>
                </c:pt>
                <c:pt idx="12">
                  <c:v>24.64</c:v>
                </c:pt>
                <c:pt idx="13">
                  <c:v>16.3</c:v>
                </c:pt>
                <c:pt idx="14">
                  <c:v>18.77</c:v>
                </c:pt>
                <c:pt idx="15">
                  <c:v>19.45</c:v>
                </c:pt>
                <c:pt idx="16">
                  <c:v>42.25</c:v>
                </c:pt>
                <c:pt idx="17">
                  <c:v>13.06</c:v>
                </c:pt>
                <c:pt idx="18">
                  <c:v>32.12</c:v>
                </c:pt>
                <c:pt idx="19">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4.32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0">
                  <c:v>9.64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2.1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28.635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3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c:v>
                </c:pt>
              </c:strCache>
            </c:strRef>
          </c:cat>
          <c:val>
            <c:numRef>
              <c:f>Sheet1!$C$2:$C$2</c:f>
              <c:numCache>
                <c:formatCode>General</c:formatCode>
                <c:ptCount val="1"/>
                <c:pt idx="0">
                  <c:v>39.5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39.51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37.042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3">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0">
                  <c:v>14.0</c:v>
                </c:pt>
                <c:pt idx="1">
                  <c:v>3.5</c:v>
                </c:pt>
                <c:pt idx="3">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4.3177</c:v>
                </c:pt>
                <c:pt idx="1">
                  <c:v>8.4401</c:v>
                </c:pt>
                <c:pt idx="2">
                  <c:v>14.8057</c:v>
                </c:pt>
                <c:pt idx="3">
                  <c:v>12.6781</c:v>
                </c:pt>
                <c:pt idx="4">
                  <c:v>11.0337</c:v>
                </c:pt>
                <c:pt idx="5">
                  <c:v>8.96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9.5919</c:v>
                </c:pt>
                <c:pt idx="3">
                  <c:v>12.66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9.5308</c:v>
                </c:pt>
                <c:pt idx="3">
                  <c:v>21.34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3">
                  <c:v>23.4406</c:v>
                </c:pt>
                <c:pt idx="4">
                  <c:v>16.1881</c:v>
                </c:pt>
                <c:pt idx="6">
                  <c:v>17.95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J$2:$J$8</c:f>
              <c:numCache>
                <c:formatCode>General</c:formatCode>
                <c:ptCount val="7"/>
                <c:pt idx="3">
                  <c:v>20.9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K$2:$K$8</c:f>
              <c:numCache>
                <c:formatCode>General</c:formatCode>
                <c:ptCount val="7"/>
                <c:pt idx="3">
                  <c:v>28.535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1">
                  <c:v>3.0</c:v>
                </c:pt>
                <c:pt idx="3">
                  <c:v>24.7129</c:v>
                </c:pt>
                <c:pt idx="6">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26.197</c:v>
                </c:pt>
                <c:pt idx="1">
                  <c:v>19.48</c:v>
                </c:pt>
                <c:pt idx="3">
                  <c:v>36.667</c:v>
                </c:pt>
                <c:pt idx="4">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1">
                  <c:v>18.5</c:v>
                </c:pt>
                <c:pt idx="3">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pt idx="0">
                  <c:v>5.6729</c:v>
                </c:pt>
                <c:pt idx="1">
                  <c:v>8.9444</c:v>
                </c:pt>
                <c:pt idx="2">
                  <c:v>13.5345</c:v>
                </c:pt>
                <c:pt idx="3">
                  <c:v>16.2504</c:v>
                </c:pt>
                <c:pt idx="4">
                  <c:v>9.97</c:v>
                </c:pt>
                <c:pt idx="5">
                  <c:v>8.9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8.3459</c:v>
                </c:pt>
                <c:pt idx="1">
                  <c:v>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14.5899</c:v>
                </c:pt>
                <c:pt idx="3">
                  <c:v>34.27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0">
                  <c:v>5.3163</c:v>
                </c:pt>
                <c:pt idx="1">
                  <c:v>15.2946</c:v>
                </c:pt>
                <c:pt idx="3">
                  <c:v>26.9981</c:v>
                </c:pt>
                <c:pt idx="4">
                  <c:v>16.9503</c:v>
                </c:pt>
                <c:pt idx="5">
                  <c:v>16.913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C$2:$C$6</c:f>
              <c:numCache>
                <c:formatCode>General</c:formatCode>
                <c:ptCount val="5"/>
                <c:pt idx="0">
                  <c:v>27.0196</c:v>
                </c:pt>
                <c:pt idx="1">
                  <c:v>10.687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D$2:$D$6</c:f>
              <c:numCache>
                <c:formatCode>General</c:formatCode>
                <c:ptCount val="5"/>
                <c:pt idx="0">
                  <c:v>39.3748</c:v>
                </c:pt>
                <c:pt idx="1">
                  <c:v>12.5274</c:v>
                </c:pt>
                <c:pt idx="2">
                  <c:v>8.4028</c:v>
                </c:pt>
                <c:pt idx="3">
                  <c:v>25.85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E$2:$E$6</c:f>
              <c:numCache>
                <c:formatCode>General</c:formatCode>
                <c:ptCount val="5"/>
                <c:pt idx="0">
                  <c:v>41.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F$2:$F$6</c:f>
              <c:numCache>
                <c:formatCode>General</c:formatCode>
                <c:ptCount val="5"/>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G$2:$G$6</c:f>
              <c:numCache>
                <c:formatCode>General</c:formatCode>
                <c:ptCount val="5"/>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H$2:$H$6</c:f>
              <c:numCache>
                <c:formatCode>General</c:formatCode>
                <c:ptCount val="5"/>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I$2:$I$6</c:f>
              <c:numCache>
                <c:formatCode>General</c:formatCode>
                <c:ptCount val="5"/>
                <c:pt idx="0">
                  <c:v>12.851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J$2:$J$6</c:f>
              <c:numCache>
                <c:formatCode>General</c:formatCode>
                <c:ptCount val="5"/>
                <c:pt idx="0">
                  <c:v>36.7325</c:v>
                </c:pt>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K$2:$K$6</c:f>
              <c:numCache>
                <c:formatCode>General</c:formatCode>
                <c:ptCount val="5"/>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L$2:$L$6</c:f>
              <c:numCache>
                <c:formatCode>General</c:formatCode>
                <c:ptCount val="5"/>
                <c:pt idx="0">
                  <c:v>13.1659</c:v>
                </c:pt>
                <c:pt idx="1">
                  <c:v>10.1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M$2:$M$6</c:f>
              <c:numCache>
                <c:formatCode>General</c:formatCode>
                <c:ptCount val="5"/>
                <c:pt idx="1">
                  <c:v>7.1175</c:v>
                </c:pt>
                <c:pt idx="3">
                  <c:v>10.1699</c:v>
                </c:pt>
                <c:pt idx="4">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N$2:$N$6</c:f>
              <c:numCache>
                <c:formatCode>General</c:formatCode>
                <c:ptCount val="5"/>
                <c:pt idx="0">
                  <c:v>17.4046</c:v>
                </c:pt>
                <c:pt idx="1">
                  <c:v>7.2951</c:v>
                </c:pt>
                <c:pt idx="2">
                  <c:v>7.070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O$2:$O$6</c:f>
              <c:numCache>
                <c:formatCode>General</c:formatCode>
                <c:ptCount val="5"/>
                <c:pt idx="1">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P$2:$P$6</c:f>
              <c:numCache>
                <c:formatCode>General</c:formatCode>
                <c:ptCount val="5"/>
                <c:pt idx="0">
                  <c:v>23.482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Q$2:$Q$6</c:f>
              <c:numCache>
                <c:formatCode>General</c:formatCode>
                <c:ptCount val="5"/>
                <c:pt idx="0">
                  <c:v>22.3148</c:v>
                </c:pt>
                <c:pt idx="3">
                  <c:v>15.1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R$2:$R$6</c:f>
              <c:numCache>
                <c:formatCode>General</c:formatCode>
                <c:ptCount val="5"/>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S$2:$S$6</c:f>
              <c:numCache>
                <c:formatCode>General</c:formatCode>
                <c:ptCount val="5"/>
                <c:pt idx="0">
                  <c:v>29.7106</c:v>
                </c:pt>
                <c:pt idx="1">
                  <c:v>12.0094</c:v>
                </c:pt>
                <c:pt idx="2">
                  <c:v>11.32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T$2:$T$6</c:f>
              <c:numCache>
                <c:formatCode>General</c:formatCode>
                <c:ptCount val="5"/>
                <c:pt idx="0">
                  <c:v>31.747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C$2:$C$5</c:f>
              <c:numCache>
                <c:formatCode>General</c:formatCode>
                <c:ptCount val="4"/>
                <c:pt idx="3">
                  <c:v>23.116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D$2:$D$5</c:f>
              <c:numCache>
                <c:formatCode>General</c:formatCode>
                <c:ptCount val="4"/>
                <c:pt idx="0">
                  <c:v>41.467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E$2:$E$5</c:f>
              <c:numCache>
                <c:formatCode>General</c:formatCode>
                <c:ptCount val="4"/>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F$2:$F$5</c:f>
              <c:numCache>
                <c:formatCode>General</c:formatCode>
                <c:ptCount val="4"/>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G$2:$G$5</c:f>
              <c:numCache>
                <c:formatCode>General</c:formatCode>
                <c:ptCount val="4"/>
                <c:pt idx="0">
                  <c:v>37.0426</c:v>
                </c:pt>
                <c:pt idx="2">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H$2:$H$5</c:f>
              <c:numCache>
                <c:formatCode>General</c:formatCode>
                <c:ptCount val="4"/>
                <c:pt idx="1">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I$2:$I$5</c:f>
              <c:numCache>
                <c:formatCode>General</c:formatCode>
                <c:ptCount val="4"/>
                <c:pt idx="1">
                  <c:v>31.725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9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J$2:$J$5</c:f>
              <c:numCache>
                <c:formatCode>General</c:formatCode>
                <c:ptCount val="4"/>
                <c:pt idx="0">
                  <c:v>28.6354</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C$2:$C$7</c:f>
              <c:numCache>
                <c:formatCode>General</c:formatCode>
                <c:ptCount val="6"/>
                <c:pt idx="1">
                  <c:v>10.288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D$2:$D$7</c:f>
              <c:numCache>
                <c:formatCode>General</c:formatCode>
                <c:ptCount val="6"/>
                <c:pt idx="0">
                  <c:v>36.667</c:v>
                </c:pt>
                <c:pt idx="1">
                  <c:v>11.7058</c:v>
                </c:pt>
                <c:pt idx="2">
                  <c:v>2.1773</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E$2:$E$7</c:f>
              <c:numCache>
                <c:formatCode>General</c:formatCode>
                <c:ptCount val="6"/>
                <c:pt idx="1">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F$2:$F$7</c:f>
              <c:numCache>
                <c:formatCode>General</c:formatCode>
                <c:ptCount val="6"/>
                <c:pt idx="1">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G$2:$G$7</c:f>
              <c:numCache>
                <c:formatCode>General</c:formatCode>
                <c:ptCount val="6"/>
                <c:pt idx="0">
                  <c:v>14.483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H$2:$H$7</c:f>
              <c:numCache>
                <c:formatCode>General</c:formatCode>
                <c:ptCount val="6"/>
                <c:pt idx="1">
                  <c:v>20.0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I$2:$I$7</c:f>
              <c:numCache>
                <c:formatCode>General</c:formatCode>
                <c:ptCount val="6"/>
                <c:pt idx="1">
                  <c:v>19.96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J$2:$J$7</c:f>
              <c:numCache>
                <c:formatCode>General</c:formatCode>
                <c:ptCount val="6"/>
                <c:pt idx="0">
                  <c:v>12.678</c:v>
                </c:pt>
                <c:pt idx="1">
                  <c:v>9.979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K$2:$K$7</c:f>
              <c:numCache>
                <c:formatCode>General</c:formatCode>
                <c:ptCount val="6"/>
                <c:pt idx="1">
                  <c:v>6.9635</c:v>
                </c:pt>
                <c:pt idx="2">
                  <c:v>5.0484</c:v>
                </c:pt>
                <c:pt idx="5">
                  <c:v>9.590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L$2:$L$7</c:f>
              <c:numCache>
                <c:formatCode>General</c:formatCode>
                <c:ptCount val="6"/>
                <c:pt idx="0">
                  <c:v>16.6165</c:v>
                </c:pt>
                <c:pt idx="1">
                  <c:v>6.9784</c:v>
                </c:pt>
                <c:pt idx="2">
                  <c:v>3.972</c:v>
                </c:pt>
                <c:pt idx="3">
                  <c:v>8.9444</c:v>
                </c:pt>
                <c:pt idx="4">
                  <c:v>6.4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M$2:$M$7</c:f>
              <c:numCache>
                <c:formatCode>General</c:formatCode>
                <c:ptCount val="6"/>
                <c:pt idx="0">
                  <c:v>23.440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N$2:$N$7</c:f>
              <c:numCache>
                <c:formatCode>General</c:formatCode>
                <c:ptCount val="6"/>
                <c:pt idx="0">
                  <c:v>22.3567</c:v>
                </c:pt>
                <c:pt idx="5">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O$2:$O$7</c:f>
              <c:numCache>
                <c:formatCode>General</c:formatCode>
                <c:ptCount val="6"/>
                <c:pt idx="0">
                  <c:v>28.535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P$2:$P$7</c:f>
              <c:numCache>
                <c:formatCode>General</c:formatCode>
                <c:ptCount val="6"/>
                <c:pt idx="0">
                  <c:v>26.9981</c:v>
                </c:pt>
                <c:pt idx="1">
                  <c:v>12.0142</c:v>
                </c:pt>
                <c:pt idx="2">
                  <c:v>5.9797</c:v>
                </c:pt>
                <c:pt idx="4">
                  <c:v>10.5602</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C$2:$C$5</c:f>
              <c:numCache>
                <c:formatCode>General</c:formatCode>
                <c:ptCount val="4"/>
                <c:pt idx="0">
                  <c:v>26.918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D$2:$D$5</c:f>
              <c:numCache>
                <c:formatCode>General</c:formatCode>
                <c:ptCount val="4"/>
                <c:pt idx="0">
                  <c:v>39.3748</c:v>
                </c:pt>
                <c:pt idx="2">
                  <c:v>25.858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E$2:$E$5</c:f>
              <c:numCache>
                <c:formatCode>General</c:formatCode>
                <c:ptCount val="4"/>
                <c:pt idx="0">
                  <c:v>37.7839</c:v>
                </c:pt>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F$2:$F$5</c:f>
              <c:numCache>
                <c:formatCode>General</c:formatCode>
                <c:ptCount val="4"/>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G$2:$G$5</c:f>
              <c:numCache>
                <c:formatCode>General</c:formatCode>
                <c:ptCount val="4"/>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H$2:$H$5</c:f>
              <c:numCache>
                <c:formatCode>General</c:formatCode>
                <c:ptCount val="4"/>
                <c:pt idx="1">
                  <c:v>12.851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I$2:$I$5</c:f>
              <c:numCache>
                <c:formatCode>General</c:formatCode>
                <c:ptCount val="4"/>
                <c:pt idx="0">
                  <c:v>36.741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J$2:$J$5</c:f>
              <c:numCache>
                <c:formatCode>General</c:formatCode>
                <c:ptCount val="4"/>
                <c:pt idx="1">
                  <c:v>13.203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K$2:$K$5</c:f>
              <c:numCache>
                <c:formatCode>General</c:formatCode>
                <c:ptCount val="4"/>
                <c:pt idx="3">
                  <c:v>10.175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L$2:$L$5</c:f>
              <c:numCache>
                <c:formatCode>General</c:formatCode>
                <c:ptCount val="4"/>
                <c:pt idx="0">
                  <c:v>17.4135</c:v>
                </c:pt>
                <c:pt idx="1">
                  <c:v>22.39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M$2:$M$5</c:f>
              <c:numCache>
                <c:formatCode>General</c:formatCode>
                <c:ptCount val="4"/>
                <c:pt idx="1">
                  <c:v>23.483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N$2:$N$5</c:f>
              <c:numCache>
                <c:formatCode>General</c:formatCode>
                <c:ptCount val="4"/>
                <c:pt idx="1">
                  <c:v>21.0307</c:v>
                </c:pt>
                <c:pt idx="2">
                  <c:v>15.19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O$2:$O$5</c:f>
              <c:numCache>
                <c:formatCode>General</c:formatCode>
                <c:ptCount val="4"/>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P$2:$P$5</c:f>
              <c:numCache>
                <c:formatCode>General</c:formatCode>
                <c:ptCount val="4"/>
                <c:pt idx="0">
                  <c:v>29.6969</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Q$2:$Q$5</c:f>
              <c:numCache>
                <c:formatCode>General</c:formatCode>
                <c:ptCount val="4"/>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C$2:$C$5</c:f>
              <c:numCache>
                <c:formatCode>General</c:formatCode>
                <c:ptCount val="4"/>
                <c:pt idx="0">
                  <c:v>10.6879</c:v>
                </c:pt>
                <c:pt idx="1">
                  <c:v>4.62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D$2:$D$5</c:f>
              <c:numCache>
                <c:formatCode>General</c:formatCode>
                <c:ptCount val="4"/>
                <c:pt idx="0">
                  <c:v>12.5274</c:v>
                </c:pt>
                <c:pt idx="1">
                  <c:v>3.7378</c:v>
                </c:pt>
                <c:pt idx="2">
                  <c:v>8.4028</c:v>
                </c:pt>
                <c:pt idx="3">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E$2:$E$5</c:f>
              <c:numCache>
                <c:formatCode>General</c:formatCode>
                <c:ptCount val="4"/>
                <c:pt idx="0">
                  <c:v>15.04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F$2:$F$5</c:f>
              <c:numCache>
                <c:formatCode>General</c:formatCode>
                <c:ptCount val="4"/>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G$2:$G$5</c:f>
              <c:numCache>
                <c:formatCode>General</c:formatCode>
                <c:ptCount val="4"/>
                <c:pt idx="2">
                  <c:v>18.186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H$2:$H$5</c:f>
              <c:numCache>
                <c:formatCode>General</c:formatCode>
                <c:ptCount val="4"/>
                <c:pt idx="0">
                  <c:v>20.53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I$2:$I$5</c:f>
              <c:numCache>
                <c:formatCode>General</c:formatCode>
                <c:ptCount val="4"/>
                <c:pt idx="0">
                  <c:v>22.288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J$2:$J$5</c:f>
              <c:numCache>
                <c:formatCode>General</c:formatCode>
                <c:ptCount val="4"/>
                <c:pt idx="0">
                  <c:v>20.581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K$2:$K$5</c:f>
              <c:numCache>
                <c:formatCode>General</c:formatCode>
                <c:ptCount val="4"/>
                <c:pt idx="0">
                  <c:v>10.1918</c:v>
                </c:pt>
                <c:pt idx="1">
                  <c:v>6.160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L$2:$L$5</c:f>
              <c:numCache>
                <c:formatCode>General</c:formatCode>
                <c:ptCount val="4"/>
                <c:pt idx="0">
                  <c:v>28.882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M$2:$M$5</c:f>
              <c:numCache>
                <c:formatCode>General</c:formatCode>
                <c:ptCount val="4"/>
                <c:pt idx="0">
                  <c:v>7.1175</c:v>
                </c:pt>
                <c:pt idx="1">
                  <c:v>6.5505</c:v>
                </c:pt>
                <c:pt idx="2">
                  <c:v>9.1257</c:v>
                </c:pt>
                <c:pt idx="3">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N$2:$N$5</c:f>
              <c:numCache>
                <c:formatCode>General</c:formatCode>
                <c:ptCount val="4"/>
                <c:pt idx="0">
                  <c:v>7.2951</c:v>
                </c:pt>
                <c:pt idx="1">
                  <c:v>5.7992</c:v>
                </c:pt>
                <c:pt idx="2">
                  <c:v>7.0706</c:v>
                </c:pt>
                <c:pt idx="3">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O$2:$O$5</c:f>
              <c:numCache>
                <c:formatCode>General</c:formatCode>
                <c:ptCount val="4"/>
                <c:pt idx="0">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P$2:$P$5</c:f>
              <c:numCache>
                <c:formatCode>General</c:formatCode>
                <c:ptCount val="4"/>
                <c:pt idx="0">
                  <c:v>7.0962</c:v>
                </c:pt>
                <c:pt idx="1">
                  <c:v>5.1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Q$2:$Q$5</c:f>
              <c:numCache>
                <c:formatCode>General</c:formatCode>
                <c:ptCount val="4"/>
                <c:pt idx="0">
                  <c:v>12.578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R$2:$R$5</c:f>
              <c:numCache>
                <c:formatCode>General</c:formatCode>
                <c:ptCount val="4"/>
                <c:pt idx="0">
                  <c:v>12.414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S$2:$S$5</c:f>
              <c:numCache>
                <c:formatCode>General</c:formatCode>
                <c:ptCount val="4"/>
                <c:pt idx="0">
                  <c:v>12.0094</c:v>
                </c:pt>
                <c:pt idx="1">
                  <c:v>5.5367</c:v>
                </c:pt>
                <c:pt idx="2">
                  <c:v>11.3234</c:v>
                </c:pt>
                <c:pt idx="3">
                  <c:v>5.9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C$2:$C$3</c:f>
              <c:numCache>
                <c:formatCode>General</c:formatCode>
                <c:ptCount val="2"/>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Refills</c:v>
                  </c:pt>
                  <c:pt idx="1">
                    <c:v>Razors</c:v>
                  </c:pt>
                </c:lvl>
                <c:lvl>
                  <c:pt idx="0">
                    <c:v>Gillette</c:v>
                  </c:pt>
                </c:lvl>
              </c:multiLvlStrCache>
            </c:multiLvlStrRef>
          </c:cat>
          <c:val>
            <c:numRef>
              <c:f>Sheet1!$D$2:$D$3</c:f>
              <c:numCache>
                <c:formatCode>General</c:formatCode>
                <c:ptCount val="2"/>
                <c:pt idx="0">
                  <c:v>37.727</c:v>
                </c:pt>
                <c:pt idx="1">
                  <c:v>44.3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E$2:$E$3</c:f>
              <c:numCache>
                <c:formatCode>General</c:formatCode>
                <c:ptCount val="2"/>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F$2:$F$3</c:f>
              <c:numCache>
                <c:formatCode>General</c:formatCode>
                <c:ptCount val="2"/>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G$2:$G$3</c:f>
              <c:numCache>
                <c:formatCode>General</c:formatCode>
                <c:ptCount val="2"/>
                <c:pt idx="0">
                  <c:v>37.042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H$2:$H$3</c:f>
              <c:numCache>
                <c:formatCode>General</c:formatCode>
                <c:ptCount val="2"/>
                <c:pt idx="1">
                  <c:v>32.14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I$2:$I$3</c:f>
              <c:numCache>
                <c:formatCode>General</c:formatCode>
                <c:ptCount val="2"/>
                <c:pt idx="1">
                  <c:v>28.6354</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42.27</a:t>
                    </a:r>
                  </a:p>
                </c:rich>
              </c:tx>
              <c:showLegendKey val="0"/>
              <c:showVal val="1"/>
              <c:showCatName val="0"/>
              <c:showSerName val="0"/>
              <c:showPercent val="0"/>
              <c:showBubbleSize val="0"/>
            </c:dLbl>
            <c:dLbl>
              <c:idx val="4"/>
              <c:tx>
                <c:rich>
                  <a:bodyPr/>
                  <a:lstStyle/>
                  <a:p>
                    <a:r>
                      <a:t>39.57</a:t>
                    </a:r>
                  </a:p>
                </c:rich>
              </c:tx>
              <c:showLegendKey val="0"/>
              <c:showVal val="1"/>
              <c:showCatName val="0"/>
              <c:showSerName val="0"/>
              <c:showPercent val="0"/>
              <c:showBubbleSize val="0"/>
            </c:dLbl>
            <c:dLbl>
              <c:idx val="5"/>
              <c:tx>
                <c:rich>
                  <a:bodyPr/>
                  <a:lstStyle/>
                  <a:p>
                    <a:r>
                      <a:t>33.57</a:t>
                    </a:r>
                  </a:p>
                </c:rich>
              </c:tx>
              <c:showLegendKey val="0"/>
              <c:showVal val="1"/>
              <c:showCatName val="0"/>
              <c:showSerName val="0"/>
              <c:showPercent val="0"/>
              <c:showBubbleSize val="0"/>
            </c:dLbl>
            <c:dLbl>
              <c:idx val="6"/>
              <c:tx>
                <c:rich>
                  <a:bodyPr/>
                  <a:lstStyle/>
                  <a:p>
                    <a:r>
                      <a:t>46.81</a:t>
                    </a:r>
                  </a:p>
                </c:rich>
              </c:tx>
              <c:showLegendKey val="0"/>
              <c:showVal val="1"/>
              <c:showCatName val="0"/>
              <c:showSerName val="0"/>
              <c:showPercent val="0"/>
              <c:showBubbleSize val="0"/>
            </c:dLbl>
            <c:dLbl>
              <c:idx val="7"/>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3 SENSITIVE BLACK GREEN 3 BLADE DISPOSABLE SENSITIVE 20CT</c:v>
                </c:pt>
                <c:pt idx="1">
                  <c:v>SCHICK XTREME 3 SENSITIVE BLACK 3 BLADE DISPOSABLE SENSITIVE 20CT</c:v>
                </c:pt>
                <c:pt idx="2">
                  <c:v>HARRY'S ORANGE 5 BLADE RAZOR NORMAL 11CT</c:v>
                </c:pt>
                <c:pt idx="3">
                  <c:v>GILLETTE FUSION 5 5 BLADE REFILL NORMAL 16CT</c:v>
                </c:pt>
                <c:pt idx="4">
                  <c:v>GILLETTE MACH 3 3 BLADE REFILL NORMAL 20CT</c:v>
                </c:pt>
                <c:pt idx="5">
                  <c:v>GILLETTE SENSOR 2 PLUS PIVOT 2 BLADE DISPOSABLE NORMAL 52CT</c:v>
                </c:pt>
                <c:pt idx="6">
                  <c:v>GILLETTE FUSION 5 PROGLIDE 5 BLADE RAZOR NORMAL 13CT</c:v>
                </c:pt>
                <c:pt idx="7">
                  <c:v>GILLETTE FUSION 5 5 BLADE RAZOR NORMAL 9CT</c:v>
                </c:pt>
              </c:strCache>
            </c:strRef>
          </c:cat>
          <c:val>
            <c:numRef>
              <c:f>Sheet1!$B$2:$B$9</c:f>
              <c:numCache>
                <c:formatCode>General</c:formatCode>
                <c:ptCount val="8"/>
                <c:pt idx="0">
                  <c:v>20.1</c:v>
                </c:pt>
                <c:pt idx="1">
                  <c:v>24.71</c:v>
                </c:pt>
                <c:pt idx="2">
                  <c:v>25.0</c:v>
                </c:pt>
                <c:pt idx="3">
                  <c:v>42.27</c:v>
                </c:pt>
                <c:pt idx="4">
                  <c:v>39.57</c:v>
                </c:pt>
                <c:pt idx="5">
                  <c:v>33.57</c:v>
                </c:pt>
                <c:pt idx="6">
                  <c:v>46.81</c:v>
                </c:pt>
                <c:pt idx="7">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C$2:$C$4</c:f>
              <c:numCache>
                <c:formatCode>General</c:formatCode>
                <c:ptCount val="3"/>
                <c:pt idx="1">
                  <c:v>18.137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D$2:$D$4</c:f>
              <c:numCache>
                <c:formatCode>General</c:formatCode>
                <c:ptCount val="3"/>
                <c:pt idx="0">
                  <c:v>22.171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5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E$2:$E$4</c:f>
              <c:numCache>
                <c:formatCode>General</c:formatCode>
                <c:ptCount val="3"/>
                <c:pt idx="0">
                  <c:v>31.72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9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F$2:$F$4</c:f>
              <c:numCache>
                <c:formatCode>General</c:formatCode>
                <c:ptCount val="3"/>
                <c:pt idx="2">
                  <c:v>17.7168</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D$2:$D$7</c:f>
              <c:numCache>
                <c:formatCode>General</c:formatCode>
                <c:ptCount val="6"/>
                <c:pt idx="0">
                  <c:v>36.667</c:v>
                </c:pt>
                <c:pt idx="2">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E$2:$E$7</c:f>
              <c:numCache>
                <c:formatCode>General</c:formatCode>
                <c:ptCount val="6"/>
                <c:pt idx="1">
                  <c:v>14.48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F$2:$F$7</c:f>
              <c:numCache>
                <c:formatCode>General</c:formatCode>
                <c:ptCount val="6"/>
                <c:pt idx="1">
                  <c:v>12.6781</c:v>
                </c:pt>
                <c:pt idx="5">
                  <c:v>8.440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G$2:$G$7</c:f>
              <c:numCache>
                <c:formatCode>General</c:formatCode>
                <c:ptCount val="6"/>
                <c:pt idx="1">
                  <c:v>12.6612</c:v>
                </c:pt>
                <c:pt idx="3">
                  <c:v>9.591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H$2:$H$7</c:f>
              <c:numCache>
                <c:formatCode>General</c:formatCode>
                <c:ptCount val="6"/>
                <c:pt idx="0">
                  <c:v>16.2504</c:v>
                </c:pt>
                <c:pt idx="1">
                  <c:v>21.3493</c:v>
                </c:pt>
                <c:pt idx="4">
                  <c:v>8.944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I$2:$I$7</c:f>
              <c:numCache>
                <c:formatCode>General</c:formatCode>
                <c:ptCount val="6"/>
                <c:pt idx="1">
                  <c:v>23.440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6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J$2:$J$7</c:f>
              <c:numCache>
                <c:formatCode>General</c:formatCode>
                <c:ptCount val="6"/>
                <c:pt idx="0">
                  <c:v>34.2743</c:v>
                </c:pt>
                <c:pt idx="1">
                  <c:v>20.9216</c:v>
                </c:pt>
                <c:pt idx="2">
                  <c:v>14.589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7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K$2:$K$7</c:f>
              <c:numCache>
                <c:formatCode>General</c:formatCode>
                <c:ptCount val="6"/>
                <c:pt idx="1">
                  <c:v>28.535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L$2:$L$7</c:f>
              <c:numCache>
                <c:formatCode>General</c:formatCode>
                <c:ptCount val="6"/>
                <c:pt idx="0">
                  <c:v>26.9981</c:v>
                </c:pt>
                <c:pt idx="4">
                  <c:v>15.2946</c:v>
                </c:pt>
              </c:numCache>
            </c:numRef>
          </c:val>
          <c:smooth val="0"/>
          <c:extLst>
            <c:ext xmlns:c16="http://schemas.microsoft.com/office/drawing/2014/chart" uri="{C3380CC4-5D6E-409C-BE32-E72D297353CC}">
              <c16:uniqueId val="{0000001F-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C$2:$C$5</c:f>
              <c:numCache>
                <c:formatCode>General</c:formatCode>
                <c:ptCount val="4"/>
                <c:pt idx="0">
                  <c:v>10.2883</c:v>
                </c:pt>
                <c:pt idx="1">
                  <c:v>5.882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D$2:$D$5</c:f>
              <c:numCache>
                <c:formatCode>General</c:formatCode>
                <c:ptCount val="4"/>
                <c:pt idx="0">
                  <c:v>11.7058</c:v>
                </c:pt>
                <c:pt idx="1">
                  <c:v>3.4322</c:v>
                </c:pt>
                <c:pt idx="2">
                  <c:v>2.1773</c:v>
                </c:pt>
                <c:pt idx="3">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E$2:$E$5</c:f>
              <c:numCache>
                <c:formatCode>General</c:formatCode>
                <c:ptCount val="4"/>
                <c:pt idx="0">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F$2:$F$5</c:f>
              <c:numCache>
                <c:formatCode>General</c:formatCode>
                <c:ptCount val="4"/>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G$2:$G$5</c:f>
              <c:numCache>
                <c:formatCode>General</c:formatCode>
                <c:ptCount val="4"/>
                <c:pt idx="0">
                  <c:v>20.06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H$2:$H$5</c:f>
              <c:numCache>
                <c:formatCode>General</c:formatCode>
                <c:ptCount val="4"/>
                <c:pt idx="0">
                  <c:v>19.96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I$2:$I$5</c:f>
              <c:numCache>
                <c:formatCode>General</c:formatCode>
                <c:ptCount val="4"/>
                <c:pt idx="0">
                  <c:v>9.9791</c:v>
                </c:pt>
                <c:pt idx="1">
                  <c:v>6.047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J$2:$J$5</c:f>
              <c:numCache>
                <c:formatCode>General</c:formatCode>
                <c:ptCount val="4"/>
                <c:pt idx="0">
                  <c:v>6.9635</c:v>
                </c:pt>
                <c:pt idx="1">
                  <c:v>6.4462</c:v>
                </c:pt>
                <c:pt idx="2">
                  <c:v>5.048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K$2:$K$5</c:f>
              <c:numCache>
                <c:formatCode>General</c:formatCode>
                <c:ptCount val="4"/>
                <c:pt idx="0">
                  <c:v>6.9784</c:v>
                </c:pt>
                <c:pt idx="1">
                  <c:v>5.9571</c:v>
                </c:pt>
                <c:pt idx="2">
                  <c:v>3.972</c:v>
                </c:pt>
                <c:pt idx="3">
                  <c:v>6.491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L$2:$L$5</c:f>
              <c:numCache>
                <c:formatCode>General</c:formatCode>
                <c:ptCount val="4"/>
                <c:pt idx="1">
                  <c:v>4.9181</c:v>
                </c:pt>
                <c:pt idx="2">
                  <c:v>1.003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M$2:$M$5</c:f>
              <c:numCache>
                <c:formatCode>General</c:formatCode>
                <c:ptCount val="4"/>
                <c:pt idx="0">
                  <c:v>13.062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N$2:$N$5</c:f>
              <c:numCache>
                <c:formatCode>General</c:formatCode>
                <c:ptCount val="4"/>
                <c:pt idx="0">
                  <c:v>14.990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O$2:$O$5</c:f>
              <c:numCache>
                <c:formatCode>General</c:formatCode>
                <c:ptCount val="4"/>
                <c:pt idx="0">
                  <c:v>12.0142</c:v>
                </c:pt>
                <c:pt idx="1">
                  <c:v>5.3355</c:v>
                </c:pt>
                <c:pt idx="2">
                  <c:v>5.9797</c:v>
                </c:pt>
                <c:pt idx="3">
                  <c:v>10.560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Walmart</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6"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82610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176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4563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8339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1151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HYBRID 3 BLADE HYBRID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8091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13511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3923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63174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9687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8289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Cremo | Walmart</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4"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48070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0403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9122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9050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1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92758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3786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4480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91084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66059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4798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14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597092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004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69608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49392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38565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59453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41536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PURPL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86042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PURPL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1981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39640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9495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3"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214519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7277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3081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2268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49190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6474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3660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2063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6622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20064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1854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4"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404194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768584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902534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44337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99868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070750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249443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1746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383442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606199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3">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11771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118037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020430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673330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111896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659980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926146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HYBRID 3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731273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22400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83332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021900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859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7-27</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941638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592790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80364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87913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9618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37103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56327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30482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6697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267687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1125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66048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670411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31795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25975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67745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75195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39476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824894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05269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77877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571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1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63245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09107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67774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2429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746</Words>
  <Application>Microsoft Office PowerPoint</Application>
  <PresentationFormat>On-screen Show (16:9)</PresentationFormat>
  <Paragraphs>5039</Paragraphs>
  <Slides>9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2</vt:i4>
      </vt:variant>
    </vt:vector>
  </HeadingPairs>
  <TitlesOfParts>
    <vt:vector size="101"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7-31T11: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